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9.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1.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2.xml" ContentType="application/vnd.openxmlformats-officedocument.theme+xml"/>
  <Override PartName="/ppt/tags/tag2.xml" ContentType="application/vnd.openxmlformats-officedocument.presentationml.tags+xml"/>
  <Override PartName="/ppt/theme/theme1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6" r:id="rId1"/>
    <p:sldMasterId id="2147483761" r:id="rId2"/>
    <p:sldMasterId id="2147483724" r:id="rId3"/>
    <p:sldMasterId id="2147484260" r:id="rId4"/>
    <p:sldMasterId id="2147484245" r:id="rId5"/>
    <p:sldMasterId id="2147483959" r:id="rId6"/>
    <p:sldMasterId id="2147484194" r:id="rId7"/>
    <p:sldMasterId id="2147483660" r:id="rId8"/>
    <p:sldMasterId id="2147483933" r:id="rId9"/>
    <p:sldMasterId id="2147483804" r:id="rId10"/>
    <p:sldMasterId id="2147483895" r:id="rId11"/>
    <p:sldMasterId id="2147485385" r:id="rId12"/>
  </p:sldMasterIdLst>
  <p:notesMasterIdLst>
    <p:notesMasterId r:id="rId62"/>
  </p:notesMasterIdLst>
  <p:sldIdLst>
    <p:sldId id="10325" r:id="rId13"/>
    <p:sldId id="2076137166" r:id="rId14"/>
    <p:sldId id="2076137168" r:id="rId15"/>
    <p:sldId id="2076137193" r:id="rId16"/>
    <p:sldId id="2076137192" r:id="rId17"/>
    <p:sldId id="2076137190" r:id="rId18"/>
    <p:sldId id="2076137169" r:id="rId19"/>
    <p:sldId id="2076137170" r:id="rId20"/>
    <p:sldId id="2076137171" r:id="rId21"/>
    <p:sldId id="2076137172" r:id="rId22"/>
    <p:sldId id="2076137194" r:id="rId23"/>
    <p:sldId id="2076137176" r:id="rId24"/>
    <p:sldId id="262" r:id="rId25"/>
    <p:sldId id="4574" r:id="rId26"/>
    <p:sldId id="2076137152" r:id="rId27"/>
    <p:sldId id="10299" r:id="rId28"/>
    <p:sldId id="2076137195" r:id="rId29"/>
    <p:sldId id="2076137196" r:id="rId30"/>
    <p:sldId id="2076137197" r:id="rId31"/>
    <p:sldId id="2076137198" r:id="rId32"/>
    <p:sldId id="2076137199" r:id="rId33"/>
    <p:sldId id="2076137200" r:id="rId34"/>
    <p:sldId id="2076137201" r:id="rId35"/>
    <p:sldId id="2076137202" r:id="rId36"/>
    <p:sldId id="2076137203" r:id="rId37"/>
    <p:sldId id="2076137204" r:id="rId38"/>
    <p:sldId id="2076137175" r:id="rId39"/>
    <p:sldId id="2076137205" r:id="rId40"/>
    <p:sldId id="2076137206" r:id="rId41"/>
    <p:sldId id="2076137181" r:id="rId42"/>
    <p:sldId id="2076137208" r:id="rId43"/>
    <p:sldId id="2076137178" r:id="rId44"/>
    <p:sldId id="2076137182" r:id="rId45"/>
    <p:sldId id="2076137183" r:id="rId46"/>
    <p:sldId id="2076137184" r:id="rId47"/>
    <p:sldId id="2076137185" r:id="rId48"/>
    <p:sldId id="2076137186" r:id="rId49"/>
    <p:sldId id="2076137187" r:id="rId50"/>
    <p:sldId id="2076137188" r:id="rId51"/>
    <p:sldId id="10334" r:id="rId52"/>
    <p:sldId id="363" r:id="rId53"/>
    <p:sldId id="10324" r:id="rId54"/>
    <p:sldId id="10330" r:id="rId55"/>
    <p:sldId id="10329" r:id="rId56"/>
    <p:sldId id="355" r:id="rId57"/>
    <p:sldId id="10326" r:id="rId58"/>
    <p:sldId id="2076137153" r:id="rId59"/>
    <p:sldId id="2076137191" r:id="rId60"/>
    <p:sldId id="2076137209" r:id="rId61"/>
  </p:sldIdLst>
  <p:sldSz cx="12192000" cy="6858000"/>
  <p:notesSz cx="6858000" cy="91440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49E8C20-860E-4D45-8B1E-E32C05DED838}">
          <p14:sldIdLst>
            <p14:sldId id="10325"/>
            <p14:sldId id="2076137166"/>
            <p14:sldId id="2076137168"/>
            <p14:sldId id="2076137193"/>
            <p14:sldId id="2076137192"/>
            <p14:sldId id="2076137190"/>
          </p14:sldIdLst>
        </p14:section>
        <p14:section name="Introduction to Hack@Speed" id="{D0D3A1E0-DCF2-44AD-96F6-DC71565DDC5A}">
          <p14:sldIdLst>
            <p14:sldId id="2076137169"/>
            <p14:sldId id="2076137170"/>
            <p14:sldId id="2076137171"/>
            <p14:sldId id="2076137172"/>
          </p14:sldIdLst>
        </p14:section>
        <p14:section name="Power Platform Introduction" id="{BCC38006-9165-434D-B47A-D78F2C7A224A}">
          <p14:sldIdLst>
            <p14:sldId id="2076137194"/>
            <p14:sldId id="2076137176"/>
            <p14:sldId id="262"/>
            <p14:sldId id="4574"/>
            <p14:sldId id="2076137152"/>
            <p14:sldId id="10299"/>
            <p14:sldId id="2076137195"/>
            <p14:sldId id="2076137196"/>
            <p14:sldId id="2076137197"/>
            <p14:sldId id="2076137198"/>
            <p14:sldId id="2076137199"/>
            <p14:sldId id="2076137200"/>
            <p14:sldId id="2076137201"/>
            <p14:sldId id="2076137202"/>
            <p14:sldId id="2076137203"/>
            <p14:sldId id="2076137204"/>
            <p14:sldId id="2076137175"/>
          </p14:sldIdLst>
        </p14:section>
        <p14:section name="Demonstration" id="{11DA753C-C791-488E-A6C4-94077C4ACB21}">
          <p14:sldIdLst>
            <p14:sldId id="2076137205"/>
            <p14:sldId id="2076137206"/>
            <p14:sldId id="2076137181"/>
            <p14:sldId id="2076137208"/>
            <p14:sldId id="2076137178"/>
          </p14:sldIdLst>
        </p14:section>
        <p14:section name="Rules of Engagement" id="{3F0028D1-F340-4C21-B663-4DE347B0F674}">
          <p14:sldIdLst>
            <p14:sldId id="2076137182"/>
            <p14:sldId id="2076137183"/>
            <p14:sldId id="2076137184"/>
            <p14:sldId id="2076137185"/>
          </p14:sldIdLst>
        </p14:section>
        <p14:section name="Use Cases" id="{D949200B-0CE8-45D8-812A-20D65DD87145}">
          <p14:sldIdLst>
            <p14:sldId id="2076137186"/>
            <p14:sldId id="2076137187"/>
            <p14:sldId id="2076137188"/>
            <p14:sldId id="10334"/>
            <p14:sldId id="363"/>
            <p14:sldId id="10324"/>
            <p14:sldId id="10330"/>
            <p14:sldId id="10329"/>
            <p14:sldId id="355"/>
            <p14:sldId id="10326"/>
            <p14:sldId id="2076137153"/>
            <p14:sldId id="2076137191"/>
            <p14:sldId id="207613720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 Huntingford" initials="CH" lastIdx="2" clrIdx="0">
    <p:extLst>
      <p:ext uri="{19B8F6BF-5375-455C-9EA6-DF929625EA0E}">
        <p15:presenceInfo xmlns:p15="http://schemas.microsoft.com/office/powerpoint/2012/main" userId="S::chhuntin@microsoft.com::ca21fdc5-a129-4c69-bbf3-257923dd10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4F1"/>
    <a:srgbClr val="FFC300"/>
    <a:srgbClr val="91C300"/>
    <a:srgbClr val="F8682C"/>
    <a:srgbClr val="00B050"/>
    <a:srgbClr val="13224D"/>
    <a:srgbClr val="742774"/>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62E07E-6665-4E57-837A-7BD56144007F}" v="129" dt="2020-04-22T20:40:36.6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43" autoAdjust="0"/>
    <p:restoredTop sz="94715" autoAdjust="0"/>
  </p:normalViewPr>
  <p:slideViewPr>
    <p:cSldViewPr snapToGrid="0">
      <p:cViewPr varScale="1">
        <p:scale>
          <a:sx n="109" d="100"/>
          <a:sy n="109" d="100"/>
        </p:scale>
        <p:origin x="996"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theme" Target="theme/theme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notesMaster" Target="notesMasters/notesMaster1.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Huntingford (POWER PLATFORM)" userId="ca21fdc5-a129-4c69-bbf3-257923dd10d2" providerId="ADAL" clId="{F626B5D2-9E4F-469F-962A-4D0B57E420CD}"/>
    <pc:docChg chg="custSel addSld modSld">
      <pc:chgData name="Chris Huntingford (POWER PLATFORM)" userId="ca21fdc5-a129-4c69-bbf3-257923dd10d2" providerId="ADAL" clId="{F626B5D2-9E4F-469F-962A-4D0B57E420CD}" dt="2019-12-18T16:50:50.745" v="54" actId="1076"/>
      <pc:docMkLst>
        <pc:docMk/>
      </pc:docMkLst>
      <pc:sldChg chg="modSp mod">
        <pc:chgData name="Chris Huntingford (POWER PLATFORM)" userId="ca21fdc5-a129-4c69-bbf3-257923dd10d2" providerId="ADAL" clId="{F626B5D2-9E4F-469F-962A-4D0B57E420CD}" dt="2019-12-18T12:57:41.092" v="15" actId="20577"/>
        <pc:sldMkLst>
          <pc:docMk/>
          <pc:sldMk cId="1487440245" sldId="10325"/>
        </pc:sldMkLst>
        <pc:spChg chg="mod">
          <ac:chgData name="Chris Huntingford (POWER PLATFORM)" userId="ca21fdc5-a129-4c69-bbf3-257923dd10d2" providerId="ADAL" clId="{F626B5D2-9E4F-469F-962A-4D0B57E420CD}" dt="2019-12-18T12:57:41.092" v="15" actId="20577"/>
          <ac:spMkLst>
            <pc:docMk/>
            <pc:sldMk cId="1487440245" sldId="10325"/>
            <ac:spMk id="5" creationId="{AC77390D-8A86-4890-8231-F1BA47DEA9BE}"/>
          </ac:spMkLst>
        </pc:spChg>
      </pc:sldChg>
      <pc:sldChg chg="addSp modSp mod">
        <pc:chgData name="Chris Huntingford (POWER PLATFORM)" userId="ca21fdc5-a129-4c69-bbf3-257923dd10d2" providerId="ADAL" clId="{F626B5D2-9E4F-469F-962A-4D0B57E420CD}" dt="2019-12-18T16:50:50.745" v="54" actId="1076"/>
        <pc:sldMkLst>
          <pc:docMk/>
          <pc:sldMk cId="3505781261" sldId="10332"/>
        </pc:sldMkLst>
        <pc:spChg chg="add mod">
          <ac:chgData name="Chris Huntingford (POWER PLATFORM)" userId="ca21fdc5-a129-4c69-bbf3-257923dd10d2" providerId="ADAL" clId="{F626B5D2-9E4F-469F-962A-4D0B57E420CD}" dt="2019-12-18T16:50:50.745" v="54" actId="1076"/>
          <ac:spMkLst>
            <pc:docMk/>
            <pc:sldMk cId="3505781261" sldId="10332"/>
            <ac:spMk id="5" creationId="{AD2E00DC-0F17-47C2-9A93-470B94436C61}"/>
          </ac:spMkLst>
        </pc:spChg>
        <pc:picChg chg="add mod">
          <ac:chgData name="Chris Huntingford (POWER PLATFORM)" userId="ca21fdc5-a129-4c69-bbf3-257923dd10d2" providerId="ADAL" clId="{F626B5D2-9E4F-469F-962A-4D0B57E420CD}" dt="2019-12-18T16:50:04.161" v="52" actId="1076"/>
          <ac:picMkLst>
            <pc:docMk/>
            <pc:sldMk cId="3505781261" sldId="10332"/>
            <ac:picMk id="4" creationId="{24F6B1D1-10B3-4589-98B6-AF7306CDFCE0}"/>
          </ac:picMkLst>
        </pc:picChg>
      </pc:sldChg>
      <pc:sldChg chg="addSp delSp modSp add mod">
        <pc:chgData name="Chris Huntingford (POWER PLATFORM)" userId="ca21fdc5-a129-4c69-bbf3-257923dd10d2" providerId="ADAL" clId="{F626B5D2-9E4F-469F-962A-4D0B57E420CD}" dt="2019-12-18T16:42:11.457" v="50" actId="1076"/>
        <pc:sldMkLst>
          <pc:docMk/>
          <pc:sldMk cId="503167569" sldId="2076137153"/>
        </pc:sldMkLst>
        <pc:spChg chg="add del mod">
          <ac:chgData name="Chris Huntingford (POWER PLATFORM)" userId="ca21fdc5-a129-4c69-bbf3-257923dd10d2" providerId="ADAL" clId="{F626B5D2-9E4F-469F-962A-4D0B57E420CD}" dt="2019-12-18T16:40:48.574" v="18" actId="478"/>
          <ac:spMkLst>
            <pc:docMk/>
            <pc:sldMk cId="503167569" sldId="2076137153"/>
            <ac:spMk id="3" creationId="{12D4687B-DC74-4B75-AA51-D7A111359C05}"/>
          </ac:spMkLst>
        </pc:spChg>
        <pc:spChg chg="add del mod">
          <ac:chgData name="Chris Huntingford (POWER PLATFORM)" userId="ca21fdc5-a129-4c69-bbf3-257923dd10d2" providerId="ADAL" clId="{F626B5D2-9E4F-469F-962A-4D0B57E420CD}" dt="2019-12-18T16:42:08.744" v="49" actId="478"/>
          <ac:spMkLst>
            <pc:docMk/>
            <pc:sldMk cId="503167569" sldId="2076137153"/>
            <ac:spMk id="6" creationId="{D914708D-5A32-4356-A71B-BCE9038A8AA3}"/>
          </ac:spMkLst>
        </pc:spChg>
        <pc:spChg chg="del">
          <ac:chgData name="Chris Huntingford (POWER PLATFORM)" userId="ca21fdc5-a129-4c69-bbf3-257923dd10d2" providerId="ADAL" clId="{F626B5D2-9E4F-469F-962A-4D0B57E420CD}" dt="2019-12-18T16:40:46.570" v="17" actId="478"/>
          <ac:spMkLst>
            <pc:docMk/>
            <pc:sldMk cId="503167569" sldId="2076137153"/>
            <ac:spMk id="8" creationId="{72EFEA97-3EAF-468D-9022-FDFDB58A4BD9}"/>
          </ac:spMkLst>
        </pc:spChg>
        <pc:spChg chg="add mod">
          <ac:chgData name="Chris Huntingford (POWER PLATFORM)" userId="ca21fdc5-a129-4c69-bbf3-257923dd10d2" providerId="ADAL" clId="{F626B5D2-9E4F-469F-962A-4D0B57E420CD}" dt="2019-12-18T16:41:29.883" v="46" actId="122"/>
          <ac:spMkLst>
            <pc:docMk/>
            <pc:sldMk cId="503167569" sldId="2076137153"/>
            <ac:spMk id="9" creationId="{B7D1AA7C-A26A-410D-AEED-BC2EDE7F5C87}"/>
          </ac:spMkLst>
        </pc:spChg>
        <pc:picChg chg="add mod">
          <ac:chgData name="Chris Huntingford (POWER PLATFORM)" userId="ca21fdc5-a129-4c69-bbf3-257923dd10d2" providerId="ADAL" clId="{F626B5D2-9E4F-469F-962A-4D0B57E420CD}" dt="2019-12-18T16:42:11.457" v="50" actId="1076"/>
          <ac:picMkLst>
            <pc:docMk/>
            <pc:sldMk cId="503167569" sldId="2076137153"/>
            <ac:picMk id="5" creationId="{82CE20BA-4F99-476A-924A-73BB860A5A66}"/>
          </ac:picMkLst>
        </pc:picChg>
      </pc:sldChg>
    </pc:docChg>
  </pc:docChgLst>
  <pc:docChgLst>
    <pc:chgData name="Chris Huntingford (POWER PLATFORM)" userId="ca21fdc5-a129-4c69-bbf3-257923dd10d2" providerId="ADAL" clId="{3162E07E-6665-4E57-837A-7BD56144007F}"/>
    <pc:docChg chg="undo custSel addSld delSld modSld sldOrd addMainMaster modMainMaster addSection modSection">
      <pc:chgData name="Chris Huntingford (POWER PLATFORM)" userId="ca21fdc5-a129-4c69-bbf3-257923dd10d2" providerId="ADAL" clId="{3162E07E-6665-4E57-837A-7BD56144007F}" dt="2020-04-22T22:38:03.872" v="4323" actId="14100"/>
      <pc:docMkLst>
        <pc:docMk/>
      </pc:docMkLst>
      <pc:sldChg chg="del">
        <pc:chgData name="Chris Huntingford (POWER PLATFORM)" userId="ca21fdc5-a129-4c69-bbf3-257923dd10d2" providerId="ADAL" clId="{3162E07E-6665-4E57-837A-7BD56144007F}" dt="2020-04-15T12:45:36.064" v="1959" actId="47"/>
        <pc:sldMkLst>
          <pc:docMk/>
          <pc:sldMk cId="1549337867" sldId="276"/>
        </pc:sldMkLst>
      </pc:sldChg>
      <pc:sldChg chg="del">
        <pc:chgData name="Chris Huntingford (POWER PLATFORM)" userId="ca21fdc5-a129-4c69-bbf3-257923dd10d2" providerId="ADAL" clId="{3162E07E-6665-4E57-837A-7BD56144007F}" dt="2020-04-15T13:04:19.005" v="1964" actId="47"/>
        <pc:sldMkLst>
          <pc:docMk/>
          <pc:sldMk cId="2234278854" sldId="311"/>
        </pc:sldMkLst>
      </pc:sldChg>
      <pc:sldChg chg="ord">
        <pc:chgData name="Chris Huntingford (POWER PLATFORM)" userId="ca21fdc5-a129-4c69-bbf3-257923dd10d2" providerId="ADAL" clId="{3162E07E-6665-4E57-837A-7BD56144007F}" dt="2020-04-15T13:06:29.851" v="1977"/>
        <pc:sldMkLst>
          <pc:docMk/>
          <pc:sldMk cId="1968977713" sldId="355"/>
        </pc:sldMkLst>
      </pc:sldChg>
      <pc:sldChg chg="addSp delSp add del ord setBg delDesignElem">
        <pc:chgData name="Chris Huntingford (POWER PLATFORM)" userId="ca21fdc5-a129-4c69-bbf3-257923dd10d2" providerId="ADAL" clId="{3162E07E-6665-4E57-837A-7BD56144007F}" dt="2020-04-15T13:08:15.258" v="1993"/>
        <pc:sldMkLst>
          <pc:docMk/>
          <pc:sldMk cId="2879546412" sldId="363"/>
        </pc:sldMkLst>
        <pc:spChg chg="add del">
          <ac:chgData name="Chris Huntingford (POWER PLATFORM)" userId="ca21fdc5-a129-4c69-bbf3-257923dd10d2" providerId="ADAL" clId="{3162E07E-6665-4E57-837A-7BD56144007F}" dt="2020-02-05T22:58:27.453" v="713"/>
          <ac:spMkLst>
            <pc:docMk/>
            <pc:sldMk cId="2879546412" sldId="363"/>
            <ac:spMk id="9" creationId="{3B854194-185D-494D-905C-7C7CB2E30F6E}"/>
          </ac:spMkLst>
        </pc:spChg>
        <pc:spChg chg="add del">
          <ac:chgData name="Chris Huntingford (POWER PLATFORM)" userId="ca21fdc5-a129-4c69-bbf3-257923dd10d2" providerId="ADAL" clId="{3162E07E-6665-4E57-837A-7BD56144007F}" dt="2020-02-05T22:58:27.453" v="713"/>
          <ac:spMkLst>
            <pc:docMk/>
            <pc:sldMk cId="2879546412" sldId="363"/>
            <ac:spMk id="11" creationId="{B4F5FA0D-0104-4987-8241-EFF7C85B88DE}"/>
          </ac:spMkLst>
        </pc:spChg>
        <pc:picChg chg="add del">
          <ac:chgData name="Chris Huntingford (POWER PLATFORM)" userId="ca21fdc5-a129-4c69-bbf3-257923dd10d2" providerId="ADAL" clId="{3162E07E-6665-4E57-837A-7BD56144007F}" dt="2020-02-05T22:58:27.453" v="713"/>
          <ac:picMkLst>
            <pc:docMk/>
            <pc:sldMk cId="2879546412" sldId="363"/>
            <ac:picMk id="13" creationId="{2897127E-6CEF-446C-BE87-93B7C46E49D1}"/>
          </ac:picMkLst>
        </pc:picChg>
      </pc:sldChg>
      <pc:sldChg chg="del">
        <pc:chgData name="Chris Huntingford (POWER PLATFORM)" userId="ca21fdc5-a129-4c69-bbf3-257923dd10d2" providerId="ADAL" clId="{3162E07E-6665-4E57-837A-7BD56144007F}" dt="2020-04-15T12:44:50.434" v="1952" actId="47"/>
        <pc:sldMkLst>
          <pc:docMk/>
          <pc:sldMk cId="1212413602" sldId="2178"/>
        </pc:sldMkLst>
      </pc:sldChg>
      <pc:sldChg chg="del">
        <pc:chgData name="Chris Huntingford (POWER PLATFORM)" userId="ca21fdc5-a129-4c69-bbf3-257923dd10d2" providerId="ADAL" clId="{3162E07E-6665-4E57-837A-7BD56144007F}" dt="2020-04-15T13:04:20.190" v="1965" actId="47"/>
        <pc:sldMkLst>
          <pc:docMk/>
          <pc:sldMk cId="1064135319" sldId="3750"/>
        </pc:sldMkLst>
      </pc:sldChg>
      <pc:sldChg chg="del">
        <pc:chgData name="Chris Huntingford (POWER PLATFORM)" userId="ca21fdc5-a129-4c69-bbf3-257923dd10d2" providerId="ADAL" clId="{3162E07E-6665-4E57-837A-7BD56144007F}" dt="2020-04-15T13:04:21.006" v="1966" actId="47"/>
        <pc:sldMkLst>
          <pc:docMk/>
          <pc:sldMk cId="3088316532" sldId="10293"/>
        </pc:sldMkLst>
      </pc:sldChg>
      <pc:sldChg chg="del">
        <pc:chgData name="Chris Huntingford (POWER PLATFORM)" userId="ca21fdc5-a129-4c69-bbf3-257923dd10d2" providerId="ADAL" clId="{3162E07E-6665-4E57-837A-7BD56144007F}" dt="2020-04-15T12:44:51.419" v="1953" actId="47"/>
        <pc:sldMkLst>
          <pc:docMk/>
          <pc:sldMk cId="1691733980" sldId="10301"/>
        </pc:sldMkLst>
      </pc:sldChg>
      <pc:sldChg chg="del">
        <pc:chgData name="Chris Huntingford (POWER PLATFORM)" userId="ca21fdc5-a129-4c69-bbf3-257923dd10d2" providerId="ADAL" clId="{3162E07E-6665-4E57-837A-7BD56144007F}" dt="2020-04-15T12:44:52.030" v="1954" actId="47"/>
        <pc:sldMkLst>
          <pc:docMk/>
          <pc:sldMk cId="3337919142" sldId="10309"/>
        </pc:sldMkLst>
      </pc:sldChg>
      <pc:sldChg chg="del">
        <pc:chgData name="Chris Huntingford (POWER PLATFORM)" userId="ca21fdc5-a129-4c69-bbf3-257923dd10d2" providerId="ADAL" clId="{3162E07E-6665-4E57-837A-7BD56144007F}" dt="2020-04-15T12:44:52.807" v="1955" actId="47"/>
        <pc:sldMkLst>
          <pc:docMk/>
          <pc:sldMk cId="954060367" sldId="10310"/>
        </pc:sldMkLst>
      </pc:sldChg>
      <pc:sldChg chg="del">
        <pc:chgData name="Chris Huntingford (POWER PLATFORM)" userId="ca21fdc5-a129-4c69-bbf3-257923dd10d2" providerId="ADAL" clId="{3162E07E-6665-4E57-837A-7BD56144007F}" dt="2020-04-15T12:44:53.512" v="1956" actId="47"/>
        <pc:sldMkLst>
          <pc:docMk/>
          <pc:sldMk cId="1203465566" sldId="10311"/>
        </pc:sldMkLst>
      </pc:sldChg>
      <pc:sldChg chg="del">
        <pc:chgData name="Chris Huntingford (POWER PLATFORM)" userId="ca21fdc5-a129-4c69-bbf3-257923dd10d2" providerId="ADAL" clId="{3162E07E-6665-4E57-837A-7BD56144007F}" dt="2020-04-15T13:04:22.097" v="1967" actId="47"/>
        <pc:sldMkLst>
          <pc:docMk/>
          <pc:sldMk cId="462508269" sldId="10314"/>
        </pc:sldMkLst>
      </pc:sldChg>
      <pc:sldChg chg="add del ord modAnim">
        <pc:chgData name="Chris Huntingford (POWER PLATFORM)" userId="ca21fdc5-a129-4c69-bbf3-257923dd10d2" providerId="ADAL" clId="{3162E07E-6665-4E57-837A-7BD56144007F}" dt="2020-04-15T13:08:23.032" v="1997"/>
        <pc:sldMkLst>
          <pc:docMk/>
          <pc:sldMk cId="3163486358" sldId="10324"/>
        </pc:sldMkLst>
      </pc:sldChg>
      <pc:sldChg chg="addSp delSp modSp mod ord">
        <pc:chgData name="Chris Huntingford (POWER PLATFORM)" userId="ca21fdc5-a129-4c69-bbf3-257923dd10d2" providerId="ADAL" clId="{3162E07E-6665-4E57-837A-7BD56144007F}" dt="2020-04-16T14:34:34.681" v="4039" actId="478"/>
        <pc:sldMkLst>
          <pc:docMk/>
          <pc:sldMk cId="1487440245" sldId="10325"/>
        </pc:sldMkLst>
        <pc:spChg chg="mod">
          <ac:chgData name="Chris Huntingford (POWER PLATFORM)" userId="ca21fdc5-a129-4c69-bbf3-257923dd10d2" providerId="ADAL" clId="{3162E07E-6665-4E57-837A-7BD56144007F}" dt="2020-02-12T08:43:57.608" v="1058" actId="20577"/>
          <ac:spMkLst>
            <pc:docMk/>
            <pc:sldMk cId="1487440245" sldId="10325"/>
            <ac:spMk id="5" creationId="{AC77390D-8A86-4890-8231-F1BA47DEA9BE}"/>
          </ac:spMkLst>
        </pc:spChg>
        <pc:spChg chg="del">
          <ac:chgData name="Chris Huntingford (POWER PLATFORM)" userId="ca21fdc5-a129-4c69-bbf3-257923dd10d2" providerId="ADAL" clId="{3162E07E-6665-4E57-837A-7BD56144007F}" dt="2020-04-16T14:34:34.681" v="4039" actId="478"/>
          <ac:spMkLst>
            <pc:docMk/>
            <pc:sldMk cId="1487440245" sldId="10325"/>
            <ac:spMk id="15" creationId="{2B34426E-6A04-40A0-8617-49CD55F74AC1}"/>
          </ac:spMkLst>
        </pc:spChg>
        <pc:picChg chg="add del mod">
          <ac:chgData name="Chris Huntingford (POWER PLATFORM)" userId="ca21fdc5-a129-4c69-bbf3-257923dd10d2" providerId="ADAL" clId="{3162E07E-6665-4E57-837A-7BD56144007F}" dt="2020-02-12T08:43:53.106" v="1056" actId="478"/>
          <ac:picMkLst>
            <pc:docMk/>
            <pc:sldMk cId="1487440245" sldId="10325"/>
            <ac:picMk id="1026" creationId="{9E50669E-59EE-4F5E-80C4-C56ABF3D7043}"/>
          </ac:picMkLst>
        </pc:picChg>
      </pc:sldChg>
      <pc:sldChg chg="ord">
        <pc:chgData name="Chris Huntingford (POWER PLATFORM)" userId="ca21fdc5-a129-4c69-bbf3-257923dd10d2" providerId="ADAL" clId="{3162E07E-6665-4E57-837A-7BD56144007F}" dt="2020-04-15T13:06:29.851" v="1977"/>
        <pc:sldMkLst>
          <pc:docMk/>
          <pc:sldMk cId="2898280977" sldId="10326"/>
        </pc:sldMkLst>
      </pc:sldChg>
      <pc:sldChg chg="del ord">
        <pc:chgData name="Chris Huntingford (POWER PLATFORM)" userId="ca21fdc5-a129-4c69-bbf3-257923dd10d2" providerId="ADAL" clId="{3162E07E-6665-4E57-837A-7BD56144007F}" dt="2020-04-15T13:07:54.721" v="1988" actId="47"/>
        <pc:sldMkLst>
          <pc:docMk/>
          <pc:sldMk cId="3135001636" sldId="10328"/>
        </pc:sldMkLst>
      </pc:sldChg>
      <pc:sldChg chg="modSp mod ord">
        <pc:chgData name="Chris Huntingford (POWER PLATFORM)" userId="ca21fdc5-a129-4c69-bbf3-257923dd10d2" providerId="ADAL" clId="{3162E07E-6665-4E57-837A-7BD56144007F}" dt="2020-04-15T13:06:29.851" v="1977"/>
        <pc:sldMkLst>
          <pc:docMk/>
          <pc:sldMk cId="3703477312" sldId="10329"/>
        </pc:sldMkLst>
        <pc:graphicFrameChg chg="modGraphic">
          <ac:chgData name="Chris Huntingford (POWER PLATFORM)" userId="ca21fdc5-a129-4c69-bbf3-257923dd10d2" providerId="ADAL" clId="{3162E07E-6665-4E57-837A-7BD56144007F}" dt="2020-02-06T08:26:29.543" v="1043" actId="207"/>
          <ac:graphicFrameMkLst>
            <pc:docMk/>
            <pc:sldMk cId="3703477312" sldId="10329"/>
            <ac:graphicFrameMk id="4" creationId="{AEC3D831-FE54-416A-B82D-632AE5877415}"/>
          </ac:graphicFrameMkLst>
        </pc:graphicFrameChg>
      </pc:sldChg>
      <pc:sldChg chg="ord">
        <pc:chgData name="Chris Huntingford (POWER PLATFORM)" userId="ca21fdc5-a129-4c69-bbf3-257923dd10d2" providerId="ADAL" clId="{3162E07E-6665-4E57-837A-7BD56144007F}" dt="2020-04-15T13:08:00.728" v="1990"/>
        <pc:sldMkLst>
          <pc:docMk/>
          <pc:sldMk cId="2526742074" sldId="10330"/>
        </pc:sldMkLst>
      </pc:sldChg>
      <pc:sldChg chg="del ord">
        <pc:chgData name="Chris Huntingford (POWER PLATFORM)" userId="ca21fdc5-a129-4c69-bbf3-257923dd10d2" providerId="ADAL" clId="{3162E07E-6665-4E57-837A-7BD56144007F}" dt="2020-04-15T13:08:32.706" v="1998" actId="47"/>
        <pc:sldMkLst>
          <pc:docMk/>
          <pc:sldMk cId="2654107365" sldId="10331"/>
        </pc:sldMkLst>
      </pc:sldChg>
      <pc:sldChg chg="del ord">
        <pc:chgData name="Chris Huntingford (POWER PLATFORM)" userId="ca21fdc5-a129-4c69-bbf3-257923dd10d2" providerId="ADAL" clId="{3162E07E-6665-4E57-837A-7BD56144007F}" dt="2020-04-15T13:08:06.135" v="1991" actId="47"/>
        <pc:sldMkLst>
          <pc:docMk/>
          <pc:sldMk cId="3505781261" sldId="10332"/>
        </pc:sldMkLst>
      </pc:sldChg>
      <pc:sldChg chg="modSp del mod">
        <pc:chgData name="Chris Huntingford (POWER PLATFORM)" userId="ca21fdc5-a129-4c69-bbf3-257923dd10d2" providerId="ADAL" clId="{3162E07E-6665-4E57-837A-7BD56144007F}" dt="2020-04-15T12:39:42.090" v="1469" actId="47"/>
        <pc:sldMkLst>
          <pc:docMk/>
          <pc:sldMk cId="2867580876" sldId="10333"/>
        </pc:sldMkLst>
        <pc:spChg chg="mod">
          <ac:chgData name="Chris Huntingford (POWER PLATFORM)" userId="ca21fdc5-a129-4c69-bbf3-257923dd10d2" providerId="ADAL" clId="{3162E07E-6665-4E57-837A-7BD56144007F}" dt="2020-04-15T12:31:11.456" v="1132" actId="20577"/>
          <ac:spMkLst>
            <pc:docMk/>
            <pc:sldMk cId="2867580876" sldId="10333"/>
            <ac:spMk id="2" creationId="{26B80031-A449-41AF-8D38-D095F5A999DE}"/>
          </ac:spMkLst>
        </pc:spChg>
        <pc:spChg chg="mod">
          <ac:chgData name="Chris Huntingford (POWER PLATFORM)" userId="ca21fdc5-a129-4c69-bbf3-257923dd10d2" providerId="ADAL" clId="{3162E07E-6665-4E57-837A-7BD56144007F}" dt="2020-04-15T12:32:08.024" v="1148" actId="20577"/>
          <ac:spMkLst>
            <pc:docMk/>
            <pc:sldMk cId="2867580876" sldId="10333"/>
            <ac:spMk id="3" creationId="{C4959A57-072D-4BF7-9BF3-D47799E8C152}"/>
          </ac:spMkLst>
        </pc:spChg>
      </pc:sldChg>
      <pc:sldChg chg="addSp delSp modSp mod ord modAnim">
        <pc:chgData name="Chris Huntingford (POWER PLATFORM)" userId="ca21fdc5-a129-4c69-bbf3-257923dd10d2" providerId="ADAL" clId="{3162E07E-6665-4E57-837A-7BD56144007F}" dt="2020-04-22T20:43:17.742" v="4202" actId="1076"/>
        <pc:sldMkLst>
          <pc:docMk/>
          <pc:sldMk cId="3478093211" sldId="10334"/>
        </pc:sldMkLst>
        <pc:spChg chg="mod topLvl">
          <ac:chgData name="Chris Huntingford (POWER PLATFORM)" userId="ca21fdc5-a129-4c69-bbf3-257923dd10d2" providerId="ADAL" clId="{3162E07E-6665-4E57-837A-7BD56144007F}" dt="2020-04-16T10:39:37.039" v="4005" actId="478"/>
          <ac:spMkLst>
            <pc:docMk/>
            <pc:sldMk cId="3478093211" sldId="10334"/>
            <ac:spMk id="2" creationId="{EB63712E-6A10-4A45-A4F6-9271006AB602}"/>
          </ac:spMkLst>
        </pc:spChg>
        <pc:spChg chg="mod topLvl">
          <ac:chgData name="Chris Huntingford (POWER PLATFORM)" userId="ca21fdc5-a129-4c69-bbf3-257923dd10d2" providerId="ADAL" clId="{3162E07E-6665-4E57-837A-7BD56144007F}" dt="2020-04-22T20:28:16.495" v="4171" actId="478"/>
          <ac:spMkLst>
            <pc:docMk/>
            <pc:sldMk cId="3478093211" sldId="10334"/>
            <ac:spMk id="3" creationId="{6EA36121-F1E7-49E8-9822-D935F8E9A2B5}"/>
          </ac:spMkLst>
        </pc:spChg>
        <pc:spChg chg="mod topLvl">
          <ac:chgData name="Chris Huntingford (POWER PLATFORM)" userId="ca21fdc5-a129-4c69-bbf3-257923dd10d2" providerId="ADAL" clId="{3162E07E-6665-4E57-837A-7BD56144007F}" dt="2020-04-22T20:27:15.292" v="4163" actId="478"/>
          <ac:spMkLst>
            <pc:docMk/>
            <pc:sldMk cId="3478093211" sldId="10334"/>
            <ac:spMk id="4" creationId="{75202D78-09F2-40F3-BD7A-5DEBC0619FB6}"/>
          </ac:spMkLst>
        </pc:spChg>
        <pc:spChg chg="mod topLvl">
          <ac:chgData name="Chris Huntingford (POWER PLATFORM)" userId="ca21fdc5-a129-4c69-bbf3-257923dd10d2" providerId="ADAL" clId="{3162E07E-6665-4E57-837A-7BD56144007F}" dt="2020-04-22T20:23:03.129" v="4155" actId="478"/>
          <ac:spMkLst>
            <pc:docMk/>
            <pc:sldMk cId="3478093211" sldId="10334"/>
            <ac:spMk id="5" creationId="{B527EE6D-C5FF-45B1-AE34-6516F3715E10}"/>
          </ac:spMkLst>
        </pc:spChg>
        <pc:spChg chg="mod topLvl">
          <ac:chgData name="Chris Huntingford (POWER PLATFORM)" userId="ca21fdc5-a129-4c69-bbf3-257923dd10d2" providerId="ADAL" clId="{3162E07E-6665-4E57-837A-7BD56144007F}" dt="2020-04-22T20:34:02.036" v="4180" actId="478"/>
          <ac:spMkLst>
            <pc:docMk/>
            <pc:sldMk cId="3478093211" sldId="10334"/>
            <ac:spMk id="6" creationId="{199DF29A-8A5B-453C-B7B2-311D4A3CF10B}"/>
          </ac:spMkLst>
        </pc:spChg>
        <pc:spChg chg="mod topLvl">
          <ac:chgData name="Chris Huntingford (POWER PLATFORM)" userId="ca21fdc5-a129-4c69-bbf3-257923dd10d2" providerId="ADAL" clId="{3162E07E-6665-4E57-837A-7BD56144007F}" dt="2020-04-16T10:48:04.868" v="4037" actId="207"/>
          <ac:spMkLst>
            <pc:docMk/>
            <pc:sldMk cId="3478093211" sldId="10334"/>
            <ac:spMk id="7" creationId="{84388755-149B-44F0-978B-FB8B8A5B45F5}"/>
          </ac:spMkLst>
        </pc:spChg>
        <pc:spChg chg="mod">
          <ac:chgData name="Chris Huntingford (POWER PLATFORM)" userId="ca21fdc5-a129-4c69-bbf3-257923dd10d2" providerId="ADAL" clId="{3162E07E-6665-4E57-837A-7BD56144007F}" dt="2020-04-15T13:14:58.794" v="2512" actId="20577"/>
          <ac:spMkLst>
            <pc:docMk/>
            <pc:sldMk cId="3478093211" sldId="10334"/>
            <ac:spMk id="8" creationId="{1FD703EA-5AA1-40A4-A878-D93D4F3D50AD}"/>
          </ac:spMkLst>
        </pc:spChg>
        <pc:spChg chg="add del">
          <ac:chgData name="Chris Huntingford (POWER PLATFORM)" userId="ca21fdc5-a129-4c69-bbf3-257923dd10d2" providerId="ADAL" clId="{3162E07E-6665-4E57-837A-7BD56144007F}" dt="2020-04-22T20:32:51.353" v="4173"/>
          <ac:spMkLst>
            <pc:docMk/>
            <pc:sldMk cId="3478093211" sldId="10334"/>
            <ac:spMk id="22" creationId="{5665AA35-C995-483C-B3BF-6A245330C1CD}"/>
          </ac:spMkLst>
        </pc:spChg>
        <pc:spChg chg="mod topLvl">
          <ac:chgData name="Chris Huntingford (POWER PLATFORM)" userId="ca21fdc5-a129-4c69-bbf3-257923dd10d2" providerId="ADAL" clId="{3162E07E-6665-4E57-837A-7BD56144007F}" dt="2020-04-16T10:40:57.941" v="4014" actId="207"/>
          <ac:spMkLst>
            <pc:docMk/>
            <pc:sldMk cId="3478093211" sldId="10334"/>
            <ac:spMk id="23" creationId="{98FCC13F-6BCB-4667-BBBB-CD113C734243}"/>
          </ac:spMkLst>
        </pc:spChg>
        <pc:spChg chg="add mod ord">
          <ac:chgData name="Chris Huntingford (POWER PLATFORM)" userId="ca21fdc5-a129-4c69-bbf3-257923dd10d2" providerId="ADAL" clId="{3162E07E-6665-4E57-837A-7BD56144007F}" dt="2020-04-22T20:43:17.742" v="4202" actId="1076"/>
          <ac:spMkLst>
            <pc:docMk/>
            <pc:sldMk cId="3478093211" sldId="10334"/>
            <ac:spMk id="28" creationId="{07B1079B-B5B8-4064-8331-8B7D3763C869}"/>
          </ac:spMkLst>
        </pc:spChg>
        <pc:spChg chg="mod topLvl">
          <ac:chgData name="Chris Huntingford (POWER PLATFORM)" userId="ca21fdc5-a129-4c69-bbf3-257923dd10d2" providerId="ADAL" clId="{3162E07E-6665-4E57-837A-7BD56144007F}" dt="2020-04-22T20:37:15.004" v="4190" actId="478"/>
          <ac:spMkLst>
            <pc:docMk/>
            <pc:sldMk cId="3478093211" sldId="10334"/>
            <ac:spMk id="29" creationId="{EE7C6D21-BA52-48E4-A8EF-96EBF8E90639}"/>
          </ac:spMkLst>
        </pc:spChg>
        <pc:grpChg chg="add del mod">
          <ac:chgData name="Chris Huntingford (POWER PLATFORM)" userId="ca21fdc5-a129-4c69-bbf3-257923dd10d2" providerId="ADAL" clId="{3162E07E-6665-4E57-837A-7BD56144007F}" dt="2020-04-16T10:39:37.039" v="4005" actId="478"/>
          <ac:grpSpMkLst>
            <pc:docMk/>
            <pc:sldMk cId="3478093211" sldId="10334"/>
            <ac:grpSpMk id="9" creationId="{C5C131EA-79F7-40A2-B9B8-E99874D9F815}"/>
          </ac:grpSpMkLst>
        </pc:grpChg>
        <pc:grpChg chg="add del mod">
          <ac:chgData name="Chris Huntingford (POWER PLATFORM)" userId="ca21fdc5-a129-4c69-bbf3-257923dd10d2" providerId="ADAL" clId="{3162E07E-6665-4E57-837A-7BD56144007F}" dt="2020-04-22T20:34:02.036" v="4180" actId="478"/>
          <ac:grpSpMkLst>
            <pc:docMk/>
            <pc:sldMk cId="3478093211" sldId="10334"/>
            <ac:grpSpMk id="11" creationId="{C544A4DE-E7BA-45CA-979E-0D31EC92AC86}"/>
          </ac:grpSpMkLst>
        </pc:grpChg>
        <pc:grpChg chg="add del mod">
          <ac:chgData name="Chris Huntingford (POWER PLATFORM)" userId="ca21fdc5-a129-4c69-bbf3-257923dd10d2" providerId="ADAL" clId="{3162E07E-6665-4E57-837A-7BD56144007F}" dt="2020-04-22T20:23:03.129" v="4155" actId="478"/>
          <ac:grpSpMkLst>
            <pc:docMk/>
            <pc:sldMk cId="3478093211" sldId="10334"/>
            <ac:grpSpMk id="14" creationId="{25F20FB5-5AA9-4A33-BC11-72F49B2485FD}"/>
          </ac:grpSpMkLst>
        </pc:grpChg>
        <pc:grpChg chg="add del mod">
          <ac:chgData name="Chris Huntingford (POWER PLATFORM)" userId="ca21fdc5-a129-4c69-bbf3-257923dd10d2" providerId="ADAL" clId="{3162E07E-6665-4E57-837A-7BD56144007F}" dt="2020-04-22T20:28:16.495" v="4171" actId="478"/>
          <ac:grpSpMkLst>
            <pc:docMk/>
            <pc:sldMk cId="3478093211" sldId="10334"/>
            <ac:grpSpMk id="16" creationId="{7F895DE0-44FE-4D8E-BEF5-A484F75A30BE}"/>
          </ac:grpSpMkLst>
        </pc:grpChg>
        <pc:grpChg chg="add del mod">
          <ac:chgData name="Chris Huntingford (POWER PLATFORM)" userId="ca21fdc5-a129-4c69-bbf3-257923dd10d2" providerId="ADAL" clId="{3162E07E-6665-4E57-837A-7BD56144007F}" dt="2020-04-22T20:27:15.292" v="4163" actId="478"/>
          <ac:grpSpMkLst>
            <pc:docMk/>
            <pc:sldMk cId="3478093211" sldId="10334"/>
            <ac:grpSpMk id="18" creationId="{CAFE5DA2-0E99-4C35-BF7E-8095D1110F12}"/>
          </ac:grpSpMkLst>
        </pc:grpChg>
        <pc:grpChg chg="add del mod">
          <ac:chgData name="Chris Huntingford (POWER PLATFORM)" userId="ca21fdc5-a129-4c69-bbf3-257923dd10d2" providerId="ADAL" clId="{3162E07E-6665-4E57-837A-7BD56144007F}" dt="2020-04-16T10:46:57.789" v="4029" actId="478"/>
          <ac:grpSpMkLst>
            <pc:docMk/>
            <pc:sldMk cId="3478093211" sldId="10334"/>
            <ac:grpSpMk id="20" creationId="{2018B991-6029-4873-A2C7-139D64849AD0}"/>
          </ac:grpSpMkLst>
        </pc:grpChg>
        <pc:grpChg chg="add del mod">
          <ac:chgData name="Chris Huntingford (POWER PLATFORM)" userId="ca21fdc5-a129-4c69-bbf3-257923dd10d2" providerId="ADAL" clId="{3162E07E-6665-4E57-837A-7BD56144007F}" dt="2020-02-05T12:15:39.192" v="604" actId="165"/>
          <ac:grpSpMkLst>
            <pc:docMk/>
            <pc:sldMk cId="3478093211" sldId="10334"/>
            <ac:grpSpMk id="22" creationId="{389AFF69-9161-4B53-BF5E-DC8724E6EA5C}"/>
          </ac:grpSpMkLst>
        </pc:grpChg>
        <pc:grpChg chg="add del mod">
          <ac:chgData name="Chris Huntingford (POWER PLATFORM)" userId="ca21fdc5-a129-4c69-bbf3-257923dd10d2" providerId="ADAL" clId="{3162E07E-6665-4E57-837A-7BD56144007F}" dt="2020-04-16T10:39:39.280" v="4006" actId="478"/>
          <ac:grpSpMkLst>
            <pc:docMk/>
            <pc:sldMk cId="3478093211" sldId="10334"/>
            <ac:grpSpMk id="27" creationId="{2E138DB8-5071-46FA-BC10-C14974C28225}"/>
          </ac:grpSpMkLst>
        </pc:grpChg>
        <pc:grpChg chg="add del mod">
          <ac:chgData name="Chris Huntingford (POWER PLATFORM)" userId="ca21fdc5-a129-4c69-bbf3-257923dd10d2" providerId="ADAL" clId="{3162E07E-6665-4E57-837A-7BD56144007F}" dt="2020-02-05T12:21:53.281" v="685" actId="478"/>
          <ac:grpSpMkLst>
            <pc:docMk/>
            <pc:sldMk cId="3478093211" sldId="10334"/>
            <ac:grpSpMk id="28" creationId="{7A9DC444-45EE-4195-91B2-0DF27C46370D}"/>
          </ac:grpSpMkLst>
        </pc:grpChg>
        <pc:grpChg chg="add del mod">
          <ac:chgData name="Chris Huntingford (POWER PLATFORM)" userId="ca21fdc5-a129-4c69-bbf3-257923dd10d2" providerId="ADAL" clId="{3162E07E-6665-4E57-837A-7BD56144007F}" dt="2020-04-22T20:37:15.004" v="4190" actId="478"/>
          <ac:grpSpMkLst>
            <pc:docMk/>
            <pc:sldMk cId="3478093211" sldId="10334"/>
            <ac:grpSpMk id="33" creationId="{DEC033D2-D28A-472C-BB52-C372E5B79591}"/>
          </ac:grpSpMkLst>
        </pc:grpChg>
        <pc:picChg chg="add del mod topLvl">
          <ac:chgData name="Chris Huntingford (POWER PLATFORM)" userId="ca21fdc5-a129-4c69-bbf3-257923dd10d2" providerId="ADAL" clId="{3162E07E-6665-4E57-837A-7BD56144007F}" dt="2020-04-22T20:28:16.495" v="4171" actId="478"/>
          <ac:picMkLst>
            <pc:docMk/>
            <pc:sldMk cId="3478093211" sldId="10334"/>
            <ac:picMk id="10" creationId="{0189F20E-B11E-488C-B7AE-34ED72A1EFA5}"/>
          </ac:picMkLst>
        </pc:picChg>
        <pc:picChg chg="add del mod topLvl">
          <ac:chgData name="Chris Huntingford (POWER PLATFORM)" userId="ca21fdc5-a129-4c69-bbf3-257923dd10d2" providerId="ADAL" clId="{3162E07E-6665-4E57-837A-7BD56144007F}" dt="2020-04-22T20:27:15.292" v="4163" actId="478"/>
          <ac:picMkLst>
            <pc:docMk/>
            <pc:sldMk cId="3478093211" sldId="10334"/>
            <ac:picMk id="12" creationId="{EFD1074A-5E3C-4897-8780-49E00E92654E}"/>
          </ac:picMkLst>
        </pc:picChg>
        <pc:picChg chg="mod">
          <ac:chgData name="Chris Huntingford (POWER PLATFORM)" userId="ca21fdc5-a129-4c69-bbf3-257923dd10d2" providerId="ADAL" clId="{3162E07E-6665-4E57-837A-7BD56144007F}" dt="2020-02-05T12:26:29.311" v="707" actId="1076"/>
          <ac:picMkLst>
            <pc:docMk/>
            <pc:sldMk cId="3478093211" sldId="10334"/>
            <ac:picMk id="13" creationId="{9512F81B-328A-420A-B7D9-B50B7F7C93B0}"/>
          </ac:picMkLst>
        </pc:picChg>
        <pc:picChg chg="add mod">
          <ac:chgData name="Chris Huntingford (POWER PLATFORM)" userId="ca21fdc5-a129-4c69-bbf3-257923dd10d2" providerId="ADAL" clId="{3162E07E-6665-4E57-837A-7BD56144007F}" dt="2020-04-22T20:25:09.939" v="4162" actId="1076"/>
          <ac:picMkLst>
            <pc:docMk/>
            <pc:sldMk cId="3478093211" sldId="10334"/>
            <ac:picMk id="15" creationId="{195FAC46-EECE-46AE-902C-7DD5AC43C42B}"/>
          </ac:picMkLst>
        </pc:picChg>
        <pc:picChg chg="add del mod topLvl">
          <ac:chgData name="Chris Huntingford (POWER PLATFORM)" userId="ca21fdc5-a129-4c69-bbf3-257923dd10d2" providerId="ADAL" clId="{3162E07E-6665-4E57-837A-7BD56144007F}" dt="2020-04-16T10:46:57.789" v="4029" actId="478"/>
          <ac:picMkLst>
            <pc:docMk/>
            <pc:sldMk cId="3478093211" sldId="10334"/>
            <ac:picMk id="15" creationId="{B5DDD22A-DEDF-4CEB-BA1D-74A31F2492FE}"/>
          </ac:picMkLst>
        </pc:picChg>
        <pc:picChg chg="add del mod topLvl">
          <ac:chgData name="Chris Huntingford (POWER PLATFORM)" userId="ca21fdc5-a129-4c69-bbf3-257923dd10d2" providerId="ADAL" clId="{3162E07E-6665-4E57-837A-7BD56144007F}" dt="2020-04-16T10:39:37.039" v="4005" actId="478"/>
          <ac:picMkLst>
            <pc:docMk/>
            <pc:sldMk cId="3478093211" sldId="10334"/>
            <ac:picMk id="17" creationId="{6E3DF63D-391B-45C9-A183-95770432D05D}"/>
          </ac:picMkLst>
        </pc:picChg>
        <pc:picChg chg="add del mod topLvl">
          <ac:chgData name="Chris Huntingford (POWER PLATFORM)" userId="ca21fdc5-a129-4c69-bbf3-257923dd10d2" providerId="ADAL" clId="{3162E07E-6665-4E57-837A-7BD56144007F}" dt="2020-04-22T20:34:02.036" v="4180" actId="478"/>
          <ac:picMkLst>
            <pc:docMk/>
            <pc:sldMk cId="3478093211" sldId="10334"/>
            <ac:picMk id="19" creationId="{3F0AFBB7-8924-4F8C-8CF3-D6A58BAF46AB}"/>
          </ac:picMkLst>
        </pc:picChg>
        <pc:picChg chg="add mod">
          <ac:chgData name="Chris Huntingford (POWER PLATFORM)" userId="ca21fdc5-a129-4c69-bbf3-257923dd10d2" providerId="ADAL" clId="{3162E07E-6665-4E57-837A-7BD56144007F}" dt="2020-04-22T20:28:02.023" v="4170" actId="1076"/>
          <ac:picMkLst>
            <pc:docMk/>
            <pc:sldMk cId="3478093211" sldId="10334"/>
            <ac:picMk id="20" creationId="{E9A48379-3B5B-44B8-A0EF-E6D2538F07AF}"/>
          </ac:picMkLst>
        </pc:picChg>
        <pc:picChg chg="add del mod topLvl">
          <ac:chgData name="Chris Huntingford (POWER PLATFORM)" userId="ca21fdc5-a129-4c69-bbf3-257923dd10d2" providerId="ADAL" clId="{3162E07E-6665-4E57-837A-7BD56144007F}" dt="2020-04-22T20:23:03.129" v="4155" actId="478"/>
          <ac:picMkLst>
            <pc:docMk/>
            <pc:sldMk cId="3478093211" sldId="10334"/>
            <ac:picMk id="21" creationId="{0F68CA45-06BB-4070-ACD7-050E43182AD2}"/>
          </ac:picMkLst>
        </pc:picChg>
        <pc:picChg chg="add mod">
          <ac:chgData name="Chris Huntingford (POWER PLATFORM)" userId="ca21fdc5-a129-4c69-bbf3-257923dd10d2" providerId="ADAL" clId="{3162E07E-6665-4E57-837A-7BD56144007F}" dt="2020-04-16T10:41:05.688" v="4015" actId="1076"/>
          <ac:picMkLst>
            <pc:docMk/>
            <pc:sldMk cId="3478093211" sldId="10334"/>
            <ac:picMk id="24" creationId="{8D1741FC-F49E-4B5B-8241-2CCE8864FFE4}"/>
          </ac:picMkLst>
        </pc:picChg>
        <pc:picChg chg="del mod topLvl">
          <ac:chgData name="Chris Huntingford (POWER PLATFORM)" userId="ca21fdc5-a129-4c69-bbf3-257923dd10d2" providerId="ADAL" clId="{3162E07E-6665-4E57-837A-7BD56144007F}" dt="2020-02-05T12:19:59.407" v="608" actId="478"/>
          <ac:picMkLst>
            <pc:docMk/>
            <pc:sldMk cId="3478093211" sldId="10334"/>
            <ac:picMk id="24" creationId="{9895B011-6B79-4F05-8D2A-A4C103D3BCF8}"/>
          </ac:picMkLst>
        </pc:picChg>
        <pc:picChg chg="add del mod topLvl">
          <ac:chgData name="Chris Huntingford (POWER PLATFORM)" userId="ca21fdc5-a129-4c69-bbf3-257923dd10d2" providerId="ADAL" clId="{3162E07E-6665-4E57-837A-7BD56144007F}" dt="2020-04-16T10:39:39.280" v="4006" actId="478"/>
          <ac:picMkLst>
            <pc:docMk/>
            <pc:sldMk cId="3478093211" sldId="10334"/>
            <ac:picMk id="26" creationId="{48B7387E-3E2A-41A2-A7D3-D2F23679F2A4}"/>
          </ac:picMkLst>
        </pc:picChg>
        <pc:picChg chg="add mod">
          <ac:chgData name="Chris Huntingford (POWER PLATFORM)" userId="ca21fdc5-a129-4c69-bbf3-257923dd10d2" providerId="ADAL" clId="{3162E07E-6665-4E57-837A-7BD56144007F}" dt="2020-04-22T20:33:56.278" v="4179" actId="1076"/>
          <ac:picMkLst>
            <pc:docMk/>
            <pc:sldMk cId="3478093211" sldId="10334"/>
            <ac:picMk id="26" creationId="{A9CEEF10-FA93-4CF2-BD2C-FCBD5F65BFD6}"/>
          </ac:picMkLst>
        </pc:picChg>
        <pc:picChg chg="del topLvl">
          <ac:chgData name="Chris Huntingford (POWER PLATFORM)" userId="ca21fdc5-a129-4c69-bbf3-257923dd10d2" providerId="ADAL" clId="{3162E07E-6665-4E57-837A-7BD56144007F}" dt="2020-02-05T12:21:53.281" v="685" actId="478"/>
          <ac:picMkLst>
            <pc:docMk/>
            <pc:sldMk cId="3478093211" sldId="10334"/>
            <ac:picMk id="30" creationId="{4E4376F3-D1B1-4CB7-9396-F7A200B7ECD6}"/>
          </ac:picMkLst>
        </pc:picChg>
        <pc:picChg chg="add mod">
          <ac:chgData name="Chris Huntingford (POWER PLATFORM)" userId="ca21fdc5-a129-4c69-bbf3-257923dd10d2" providerId="ADAL" clId="{3162E07E-6665-4E57-837A-7BD56144007F}" dt="2020-04-15T13:06:47.630" v="1980"/>
          <ac:picMkLst>
            <pc:docMk/>
            <pc:sldMk cId="3478093211" sldId="10334"/>
            <ac:picMk id="30" creationId="{FBE3776F-7FB1-41B1-ADBD-339CD4A9E9ED}"/>
          </ac:picMkLst>
        </pc:picChg>
        <pc:picChg chg="add mod">
          <ac:chgData name="Chris Huntingford (POWER PLATFORM)" userId="ca21fdc5-a129-4c69-bbf3-257923dd10d2" providerId="ADAL" clId="{3162E07E-6665-4E57-837A-7BD56144007F}" dt="2020-04-16T10:42:21.087" v="4028" actId="1036"/>
          <ac:picMkLst>
            <pc:docMk/>
            <pc:sldMk cId="3478093211" sldId="10334"/>
            <ac:picMk id="31" creationId="{39E57F7B-2294-4855-9BD7-EED68B4BAD68}"/>
          </ac:picMkLst>
        </pc:picChg>
        <pc:picChg chg="add del mod topLvl">
          <ac:chgData name="Chris Huntingford (POWER PLATFORM)" userId="ca21fdc5-a129-4c69-bbf3-257923dd10d2" providerId="ADAL" clId="{3162E07E-6665-4E57-837A-7BD56144007F}" dt="2020-04-22T20:37:15.004" v="4190" actId="478"/>
          <ac:picMkLst>
            <pc:docMk/>
            <pc:sldMk cId="3478093211" sldId="10334"/>
            <ac:picMk id="32" creationId="{E403A44B-6F09-44C7-BF05-534E4C641B79}"/>
          </ac:picMkLst>
        </pc:picChg>
        <pc:picChg chg="add mod">
          <ac:chgData name="Chris Huntingford (POWER PLATFORM)" userId="ca21fdc5-a129-4c69-bbf3-257923dd10d2" providerId="ADAL" clId="{3162E07E-6665-4E57-837A-7BD56144007F}" dt="2020-04-22T20:37:12.257" v="4189" actId="1076"/>
          <ac:picMkLst>
            <pc:docMk/>
            <pc:sldMk cId="3478093211" sldId="10334"/>
            <ac:picMk id="34" creationId="{C5D0A659-63EB-4636-9C36-BAA1479822FF}"/>
          </ac:picMkLst>
        </pc:picChg>
        <pc:picChg chg="add mod">
          <ac:chgData name="Chris Huntingford (POWER PLATFORM)" userId="ca21fdc5-a129-4c69-bbf3-257923dd10d2" providerId="ADAL" clId="{3162E07E-6665-4E57-837A-7BD56144007F}" dt="2020-04-16T10:48:14.918" v="4038" actId="1076"/>
          <ac:picMkLst>
            <pc:docMk/>
            <pc:sldMk cId="3478093211" sldId="10334"/>
            <ac:picMk id="35" creationId="{511C17EB-1019-4DEF-A7A1-72FE1A27937A}"/>
          </ac:picMkLst>
        </pc:picChg>
        <pc:picChg chg="add mod">
          <ac:chgData name="Chris Huntingford (POWER PLATFORM)" userId="ca21fdc5-a129-4c69-bbf3-257923dd10d2" providerId="ADAL" clId="{3162E07E-6665-4E57-837A-7BD56144007F}" dt="2020-04-22T20:41:00.412" v="4198" actId="1076"/>
          <ac:picMkLst>
            <pc:docMk/>
            <pc:sldMk cId="3478093211" sldId="10334"/>
            <ac:picMk id="37" creationId="{BCC0A74B-6A90-46BE-8E18-3A13E6BBBA73}"/>
          </ac:picMkLst>
        </pc:picChg>
      </pc:sldChg>
      <pc:sldChg chg="del">
        <pc:chgData name="Chris Huntingford (POWER PLATFORM)" userId="ca21fdc5-a129-4c69-bbf3-257923dd10d2" providerId="ADAL" clId="{3162E07E-6665-4E57-837A-7BD56144007F}" dt="2020-04-15T12:44:49.807" v="1951" actId="47"/>
        <pc:sldMkLst>
          <pc:docMk/>
          <pc:sldMk cId="1331828901" sldId="2076136517"/>
        </pc:sldMkLst>
      </pc:sldChg>
      <pc:sldChg chg="del">
        <pc:chgData name="Chris Huntingford (POWER PLATFORM)" userId="ca21fdc5-a129-4c69-bbf3-257923dd10d2" providerId="ADAL" clId="{3162E07E-6665-4E57-837A-7BD56144007F}" dt="2020-04-15T12:43:35.634" v="1940" actId="47"/>
        <pc:sldMkLst>
          <pc:docMk/>
          <pc:sldMk cId="1216170123" sldId="2076136524"/>
        </pc:sldMkLst>
      </pc:sldChg>
      <pc:sldChg chg="del">
        <pc:chgData name="Chris Huntingford (POWER PLATFORM)" userId="ca21fdc5-a129-4c69-bbf3-257923dd10d2" providerId="ADAL" clId="{3162E07E-6665-4E57-837A-7BD56144007F}" dt="2020-04-15T12:44:47.451" v="1948" actId="47"/>
        <pc:sldMkLst>
          <pc:docMk/>
          <pc:sldMk cId="2042377855" sldId="2076136561"/>
        </pc:sldMkLst>
      </pc:sldChg>
      <pc:sldChg chg="del">
        <pc:chgData name="Chris Huntingford (POWER PLATFORM)" userId="ca21fdc5-a129-4c69-bbf3-257923dd10d2" providerId="ADAL" clId="{3162E07E-6665-4E57-837A-7BD56144007F}" dt="2020-04-15T12:44:48.397" v="1949" actId="47"/>
        <pc:sldMkLst>
          <pc:docMk/>
          <pc:sldMk cId="2319452159" sldId="2076136562"/>
        </pc:sldMkLst>
      </pc:sldChg>
      <pc:sldChg chg="del">
        <pc:chgData name="Chris Huntingford (POWER PLATFORM)" userId="ca21fdc5-a129-4c69-bbf3-257923dd10d2" providerId="ADAL" clId="{3162E07E-6665-4E57-837A-7BD56144007F}" dt="2020-04-15T12:44:54.831" v="1957" actId="47"/>
        <pc:sldMkLst>
          <pc:docMk/>
          <pc:sldMk cId="2014765308" sldId="2076136563"/>
        </pc:sldMkLst>
      </pc:sldChg>
      <pc:sldChg chg="del">
        <pc:chgData name="Chris Huntingford (POWER PLATFORM)" userId="ca21fdc5-a129-4c69-bbf3-257923dd10d2" providerId="ADAL" clId="{3162E07E-6665-4E57-837A-7BD56144007F}" dt="2020-04-15T12:44:49.041" v="1950" actId="47"/>
        <pc:sldMkLst>
          <pc:docMk/>
          <pc:sldMk cId="1126133640" sldId="2076136969"/>
        </pc:sldMkLst>
      </pc:sldChg>
      <pc:sldChg chg="del ord">
        <pc:chgData name="Chris Huntingford (POWER PLATFORM)" userId="ca21fdc5-a129-4c69-bbf3-257923dd10d2" providerId="ADAL" clId="{3162E07E-6665-4E57-837A-7BD56144007F}" dt="2020-04-15T13:07:08.016" v="1982" actId="47"/>
        <pc:sldMkLst>
          <pc:docMk/>
          <pc:sldMk cId="755456385" sldId="2076136971"/>
        </pc:sldMkLst>
      </pc:sldChg>
      <pc:sldChg chg="ord">
        <pc:chgData name="Chris Huntingford (POWER PLATFORM)" userId="ca21fdc5-a129-4c69-bbf3-257923dd10d2" providerId="ADAL" clId="{3162E07E-6665-4E57-837A-7BD56144007F}" dt="2020-04-15T13:06:29.851" v="1977"/>
        <pc:sldMkLst>
          <pc:docMk/>
          <pc:sldMk cId="503167569" sldId="2076137153"/>
        </pc:sldMkLst>
      </pc:sldChg>
      <pc:sldChg chg="addSp delSp modSp add del mod ord">
        <pc:chgData name="Chris Huntingford (POWER PLATFORM)" userId="ca21fdc5-a129-4c69-bbf3-257923dd10d2" providerId="ADAL" clId="{3162E07E-6665-4E57-837A-7BD56144007F}" dt="2020-04-15T13:07:31.117" v="1985" actId="47"/>
        <pc:sldMkLst>
          <pc:docMk/>
          <pc:sldMk cId="140343533" sldId="2076137154"/>
        </pc:sldMkLst>
        <pc:spChg chg="mod">
          <ac:chgData name="Chris Huntingford (POWER PLATFORM)" userId="ca21fdc5-a129-4c69-bbf3-257923dd10d2" providerId="ADAL" clId="{3162E07E-6665-4E57-837A-7BD56144007F}" dt="2020-01-10T18:38:19.561" v="586" actId="20577"/>
          <ac:spMkLst>
            <pc:docMk/>
            <pc:sldMk cId="140343533" sldId="2076137154"/>
            <ac:spMk id="2" creationId="{74D60CA8-CF31-42D5-9E41-CD9D72659ECD}"/>
          </ac:spMkLst>
        </pc:spChg>
        <pc:spChg chg="del">
          <ac:chgData name="Chris Huntingford (POWER PLATFORM)" userId="ca21fdc5-a129-4c69-bbf3-257923dd10d2" providerId="ADAL" clId="{3162E07E-6665-4E57-837A-7BD56144007F}" dt="2020-01-10T17:56:26.187" v="431" actId="478"/>
          <ac:spMkLst>
            <pc:docMk/>
            <pc:sldMk cId="140343533" sldId="2076137154"/>
            <ac:spMk id="3" creationId="{546C78CB-2763-441E-AC96-2C4794EA2DD9}"/>
          </ac:spMkLst>
        </pc:spChg>
        <pc:spChg chg="add mod">
          <ac:chgData name="Chris Huntingford (POWER PLATFORM)" userId="ca21fdc5-a129-4c69-bbf3-257923dd10d2" providerId="ADAL" clId="{3162E07E-6665-4E57-837A-7BD56144007F}" dt="2020-01-10T18:28:24.596" v="574" actId="207"/>
          <ac:spMkLst>
            <pc:docMk/>
            <pc:sldMk cId="140343533" sldId="2076137154"/>
            <ac:spMk id="4" creationId="{5530C6C1-EA87-432D-97C0-B656C1D927B2}"/>
          </ac:spMkLst>
        </pc:spChg>
        <pc:spChg chg="add mod">
          <ac:chgData name="Chris Huntingford (POWER PLATFORM)" userId="ca21fdc5-a129-4c69-bbf3-257923dd10d2" providerId="ADAL" clId="{3162E07E-6665-4E57-837A-7BD56144007F}" dt="2020-01-10T18:21:18.237" v="536" actId="207"/>
          <ac:spMkLst>
            <pc:docMk/>
            <pc:sldMk cId="140343533" sldId="2076137154"/>
            <ac:spMk id="5" creationId="{4524A806-62DB-43C3-B1D1-9893F73621EC}"/>
          </ac:spMkLst>
        </pc:spChg>
        <pc:spChg chg="add del mod">
          <ac:chgData name="Chris Huntingford (POWER PLATFORM)" userId="ca21fdc5-a129-4c69-bbf3-257923dd10d2" providerId="ADAL" clId="{3162E07E-6665-4E57-837A-7BD56144007F}" dt="2020-01-10T17:56:58.465" v="437" actId="478"/>
          <ac:spMkLst>
            <pc:docMk/>
            <pc:sldMk cId="140343533" sldId="2076137154"/>
            <ac:spMk id="6" creationId="{A2BE83F7-28D9-4920-BEE8-67E3EEE6CCE5}"/>
          </ac:spMkLst>
        </pc:spChg>
        <pc:spChg chg="add mod">
          <ac:chgData name="Chris Huntingford (POWER PLATFORM)" userId="ca21fdc5-a129-4c69-bbf3-257923dd10d2" providerId="ADAL" clId="{3162E07E-6665-4E57-837A-7BD56144007F}" dt="2020-01-10T18:25:17.309" v="560" actId="207"/>
          <ac:spMkLst>
            <pc:docMk/>
            <pc:sldMk cId="140343533" sldId="2076137154"/>
            <ac:spMk id="7" creationId="{0179D7E9-B867-4521-9D24-BB39E5B1A9D4}"/>
          </ac:spMkLst>
        </pc:spChg>
        <pc:spChg chg="add mod">
          <ac:chgData name="Chris Huntingford (POWER PLATFORM)" userId="ca21fdc5-a129-4c69-bbf3-257923dd10d2" providerId="ADAL" clId="{3162E07E-6665-4E57-837A-7BD56144007F}" dt="2020-01-10T18:18:25.684" v="521" actId="1076"/>
          <ac:spMkLst>
            <pc:docMk/>
            <pc:sldMk cId="140343533" sldId="2076137154"/>
            <ac:spMk id="8" creationId="{3F21F7BA-FFD1-4EDC-913D-004F189DEE84}"/>
          </ac:spMkLst>
        </pc:spChg>
        <pc:spChg chg="add mod">
          <ac:chgData name="Chris Huntingford (POWER PLATFORM)" userId="ca21fdc5-a129-4c69-bbf3-257923dd10d2" providerId="ADAL" clId="{3162E07E-6665-4E57-837A-7BD56144007F}" dt="2020-01-10T18:18:59.413" v="526" actId="14100"/>
          <ac:spMkLst>
            <pc:docMk/>
            <pc:sldMk cId="140343533" sldId="2076137154"/>
            <ac:spMk id="11" creationId="{D189311A-C511-4F2A-B781-F77894700663}"/>
          </ac:spMkLst>
        </pc:spChg>
        <pc:spChg chg="add mod">
          <ac:chgData name="Chris Huntingford (POWER PLATFORM)" userId="ca21fdc5-a129-4c69-bbf3-257923dd10d2" providerId="ADAL" clId="{3162E07E-6665-4E57-837A-7BD56144007F}" dt="2020-01-10T18:11:31.695" v="498" actId="1076"/>
          <ac:spMkLst>
            <pc:docMk/>
            <pc:sldMk cId="140343533" sldId="2076137154"/>
            <ac:spMk id="12" creationId="{DAEA64CB-6E00-4375-9F52-47D050E99E48}"/>
          </ac:spMkLst>
        </pc:spChg>
        <pc:spChg chg="add mod">
          <ac:chgData name="Chris Huntingford (POWER PLATFORM)" userId="ca21fdc5-a129-4c69-bbf3-257923dd10d2" providerId="ADAL" clId="{3162E07E-6665-4E57-837A-7BD56144007F}" dt="2020-01-10T18:18:36.170" v="523" actId="1076"/>
          <ac:spMkLst>
            <pc:docMk/>
            <pc:sldMk cId="140343533" sldId="2076137154"/>
            <ac:spMk id="13" creationId="{541735E7-0F9D-49AF-877A-FA8D113AEBDA}"/>
          </ac:spMkLst>
        </pc:spChg>
        <pc:spChg chg="add mod">
          <ac:chgData name="Chris Huntingford (POWER PLATFORM)" userId="ca21fdc5-a129-4c69-bbf3-257923dd10d2" providerId="ADAL" clId="{3162E07E-6665-4E57-837A-7BD56144007F}" dt="2020-01-10T18:18:31.368" v="522" actId="1076"/>
          <ac:spMkLst>
            <pc:docMk/>
            <pc:sldMk cId="140343533" sldId="2076137154"/>
            <ac:spMk id="14" creationId="{CB8B5969-668E-45D1-8B29-BB54039F18BB}"/>
          </ac:spMkLst>
        </pc:spChg>
        <pc:picChg chg="add del mod">
          <ac:chgData name="Chris Huntingford (POWER PLATFORM)" userId="ca21fdc5-a129-4c69-bbf3-257923dd10d2" providerId="ADAL" clId="{3162E07E-6665-4E57-837A-7BD56144007F}" dt="2020-01-10T18:19:50.259" v="527" actId="478"/>
          <ac:picMkLst>
            <pc:docMk/>
            <pc:sldMk cId="140343533" sldId="2076137154"/>
            <ac:picMk id="10" creationId="{5E642708-CCE3-4181-9388-731211BE44B3}"/>
          </ac:picMkLst>
        </pc:picChg>
        <pc:picChg chg="add mod">
          <ac:chgData name="Chris Huntingford (POWER PLATFORM)" userId="ca21fdc5-a129-4c69-bbf3-257923dd10d2" providerId="ADAL" clId="{3162E07E-6665-4E57-837A-7BD56144007F}" dt="2020-01-10T18:20:51.355" v="533" actId="1076"/>
          <ac:picMkLst>
            <pc:docMk/>
            <pc:sldMk cId="140343533" sldId="2076137154"/>
            <ac:picMk id="16" creationId="{94D5F0A0-33FF-4268-BCF9-36278C4B311F}"/>
          </ac:picMkLst>
        </pc:picChg>
        <pc:picChg chg="add del mod">
          <ac:chgData name="Chris Huntingford (POWER PLATFORM)" userId="ca21fdc5-a129-4c69-bbf3-257923dd10d2" providerId="ADAL" clId="{3162E07E-6665-4E57-837A-7BD56144007F}" dt="2020-01-10T18:24:43.368" v="549" actId="478"/>
          <ac:picMkLst>
            <pc:docMk/>
            <pc:sldMk cId="140343533" sldId="2076137154"/>
            <ac:picMk id="18" creationId="{BC36D20F-E9A7-4B16-80D6-28155EC46C69}"/>
          </ac:picMkLst>
        </pc:picChg>
        <pc:picChg chg="add mod">
          <ac:chgData name="Chris Huntingford (POWER PLATFORM)" userId="ca21fdc5-a129-4c69-bbf3-257923dd10d2" providerId="ADAL" clId="{3162E07E-6665-4E57-837A-7BD56144007F}" dt="2020-01-10T18:25:12.817" v="559" actId="1076"/>
          <ac:picMkLst>
            <pc:docMk/>
            <pc:sldMk cId="140343533" sldId="2076137154"/>
            <ac:picMk id="20" creationId="{7DF3B2BF-ACA6-4A95-8312-6EFA5F6A0D97}"/>
          </ac:picMkLst>
        </pc:picChg>
        <pc:picChg chg="add mod">
          <ac:chgData name="Chris Huntingford (POWER PLATFORM)" userId="ca21fdc5-a129-4c69-bbf3-257923dd10d2" providerId="ADAL" clId="{3162E07E-6665-4E57-837A-7BD56144007F}" dt="2020-01-10T18:27:15.725" v="570" actId="1076"/>
          <ac:picMkLst>
            <pc:docMk/>
            <pc:sldMk cId="140343533" sldId="2076137154"/>
            <ac:picMk id="22" creationId="{6DDF31DC-AFEB-481D-A0BF-9307717DF1A5}"/>
          </ac:picMkLst>
        </pc:picChg>
        <pc:picChg chg="add mod">
          <ac:chgData name="Chris Huntingford (POWER PLATFORM)" userId="ca21fdc5-a129-4c69-bbf3-257923dd10d2" providerId="ADAL" clId="{3162E07E-6665-4E57-837A-7BD56144007F}" dt="2020-01-10T18:36:47.324" v="582" actId="1076"/>
          <ac:picMkLst>
            <pc:docMk/>
            <pc:sldMk cId="140343533" sldId="2076137154"/>
            <ac:picMk id="24" creationId="{C250D8F1-F8F7-4152-B0DB-8E9055414BC9}"/>
          </ac:picMkLst>
        </pc:picChg>
      </pc:sldChg>
      <pc:sldChg chg="addSp delSp modSp add del mod">
        <pc:chgData name="Chris Huntingford (POWER PLATFORM)" userId="ca21fdc5-a129-4c69-bbf3-257923dd10d2" providerId="ADAL" clId="{3162E07E-6665-4E57-837A-7BD56144007F}" dt="2020-01-10T17:55:41.538" v="406" actId="47"/>
        <pc:sldMkLst>
          <pc:docMk/>
          <pc:sldMk cId="2636757865" sldId="2076137154"/>
        </pc:sldMkLst>
        <pc:spChg chg="del">
          <ac:chgData name="Chris Huntingford (POWER PLATFORM)" userId="ca21fdc5-a129-4c69-bbf3-257923dd10d2" providerId="ADAL" clId="{3162E07E-6665-4E57-837A-7BD56144007F}" dt="2020-01-10T14:32:05.178" v="2" actId="478"/>
          <ac:spMkLst>
            <pc:docMk/>
            <pc:sldMk cId="2636757865" sldId="2076137154"/>
            <ac:spMk id="2" creationId="{44F5CDF8-84E7-4F49-B531-0D1A9E376070}"/>
          </ac:spMkLst>
        </pc:spChg>
        <pc:spChg chg="del">
          <ac:chgData name="Chris Huntingford (POWER PLATFORM)" userId="ca21fdc5-a129-4c69-bbf3-257923dd10d2" providerId="ADAL" clId="{3162E07E-6665-4E57-837A-7BD56144007F}" dt="2020-01-10T14:32:02.460" v="1" actId="478"/>
          <ac:spMkLst>
            <pc:docMk/>
            <pc:sldMk cId="2636757865" sldId="2076137154"/>
            <ac:spMk id="3" creationId="{002D753B-4035-4CB4-9ED9-5F728B2B9E6A}"/>
          </ac:spMkLst>
        </pc:spChg>
        <pc:spChg chg="add mod">
          <ac:chgData name="Chris Huntingford (POWER PLATFORM)" userId="ca21fdc5-a129-4c69-bbf3-257923dd10d2" providerId="ADAL" clId="{3162E07E-6665-4E57-837A-7BD56144007F}" dt="2020-01-10T14:33:19.101" v="50" actId="1076"/>
          <ac:spMkLst>
            <pc:docMk/>
            <pc:sldMk cId="2636757865" sldId="2076137154"/>
            <ac:spMk id="5" creationId="{1E9058FE-E37B-451F-8490-486241CAF88B}"/>
          </ac:spMkLst>
        </pc:spChg>
        <pc:spChg chg="add mod">
          <ac:chgData name="Chris Huntingford (POWER PLATFORM)" userId="ca21fdc5-a129-4c69-bbf3-257923dd10d2" providerId="ADAL" clId="{3162E07E-6665-4E57-837A-7BD56144007F}" dt="2020-01-10T14:34:13.922" v="65" actId="1076"/>
          <ac:spMkLst>
            <pc:docMk/>
            <pc:sldMk cId="2636757865" sldId="2076137154"/>
            <ac:spMk id="6" creationId="{C95FAA59-B1D8-43F7-93B6-4B02AFB6376F}"/>
          </ac:spMkLst>
        </pc:spChg>
        <pc:spChg chg="add mod">
          <ac:chgData name="Chris Huntingford (POWER PLATFORM)" userId="ca21fdc5-a129-4c69-bbf3-257923dd10d2" providerId="ADAL" clId="{3162E07E-6665-4E57-837A-7BD56144007F}" dt="2020-01-10T14:34:12.082" v="64" actId="1076"/>
          <ac:spMkLst>
            <pc:docMk/>
            <pc:sldMk cId="2636757865" sldId="2076137154"/>
            <ac:spMk id="7" creationId="{60CFA4F4-8764-481B-A03C-41B2B6CDA3EE}"/>
          </ac:spMkLst>
        </pc:spChg>
        <pc:spChg chg="add mod">
          <ac:chgData name="Chris Huntingford (POWER PLATFORM)" userId="ca21fdc5-a129-4c69-bbf3-257923dd10d2" providerId="ADAL" clId="{3162E07E-6665-4E57-837A-7BD56144007F}" dt="2020-01-10T14:34:10.177" v="63" actId="1076"/>
          <ac:spMkLst>
            <pc:docMk/>
            <pc:sldMk cId="2636757865" sldId="2076137154"/>
            <ac:spMk id="8" creationId="{68FD2EAE-D05D-49D1-940A-026617D789E7}"/>
          </ac:spMkLst>
        </pc:spChg>
        <pc:spChg chg="add mod">
          <ac:chgData name="Chris Huntingford (POWER PLATFORM)" userId="ca21fdc5-a129-4c69-bbf3-257923dd10d2" providerId="ADAL" clId="{3162E07E-6665-4E57-837A-7BD56144007F}" dt="2020-01-10T14:33:58.989" v="61" actId="1076"/>
          <ac:spMkLst>
            <pc:docMk/>
            <pc:sldMk cId="2636757865" sldId="2076137154"/>
            <ac:spMk id="9" creationId="{D8D7407C-1AEC-43E7-8120-C86BCD025B3C}"/>
          </ac:spMkLst>
        </pc:spChg>
        <pc:spChg chg="add mod">
          <ac:chgData name="Chris Huntingford (POWER PLATFORM)" userId="ca21fdc5-a129-4c69-bbf3-257923dd10d2" providerId="ADAL" clId="{3162E07E-6665-4E57-837A-7BD56144007F}" dt="2020-01-10T14:34:02.548" v="62" actId="1076"/>
          <ac:spMkLst>
            <pc:docMk/>
            <pc:sldMk cId="2636757865" sldId="2076137154"/>
            <ac:spMk id="10" creationId="{188AF043-E7B5-442B-91EF-C9FC659C8008}"/>
          </ac:spMkLst>
        </pc:spChg>
        <pc:spChg chg="add mod">
          <ac:chgData name="Chris Huntingford (POWER PLATFORM)" userId="ca21fdc5-a129-4c69-bbf3-257923dd10d2" providerId="ADAL" clId="{3162E07E-6665-4E57-837A-7BD56144007F}" dt="2020-01-10T14:34:19.735" v="67" actId="1076"/>
          <ac:spMkLst>
            <pc:docMk/>
            <pc:sldMk cId="2636757865" sldId="2076137154"/>
            <ac:spMk id="11" creationId="{DC81468F-6E4E-47CE-928F-63E423B9238C}"/>
          </ac:spMkLst>
        </pc:spChg>
        <pc:spChg chg="add mod">
          <ac:chgData name="Chris Huntingford (POWER PLATFORM)" userId="ca21fdc5-a129-4c69-bbf3-257923dd10d2" providerId="ADAL" clId="{3162E07E-6665-4E57-837A-7BD56144007F}" dt="2020-01-10T14:34:24.020" v="69" actId="1076"/>
          <ac:spMkLst>
            <pc:docMk/>
            <pc:sldMk cId="2636757865" sldId="2076137154"/>
            <ac:spMk id="12" creationId="{15064101-AA45-434B-84D9-2D5196534010}"/>
          </ac:spMkLst>
        </pc:spChg>
        <pc:spChg chg="add mod">
          <ac:chgData name="Chris Huntingford (POWER PLATFORM)" userId="ca21fdc5-a129-4c69-bbf3-257923dd10d2" providerId="ADAL" clId="{3162E07E-6665-4E57-837A-7BD56144007F}" dt="2020-01-10T14:34:31.282" v="72" actId="1076"/>
          <ac:spMkLst>
            <pc:docMk/>
            <pc:sldMk cId="2636757865" sldId="2076137154"/>
            <ac:spMk id="13" creationId="{0E8F788C-D320-435F-B24B-C32C09D6AE53}"/>
          </ac:spMkLst>
        </pc:spChg>
      </pc:sldChg>
      <pc:sldChg chg="addSp delSp modSp add del mod">
        <pc:chgData name="Chris Huntingford (POWER PLATFORM)" userId="ca21fdc5-a129-4c69-bbf3-257923dd10d2" providerId="ADAL" clId="{3162E07E-6665-4E57-837A-7BD56144007F}" dt="2020-01-10T17:55:41.538" v="406" actId="47"/>
        <pc:sldMkLst>
          <pc:docMk/>
          <pc:sldMk cId="1344990372" sldId="2076137155"/>
        </pc:sldMkLst>
        <pc:spChg chg="add mod">
          <ac:chgData name="Chris Huntingford (POWER PLATFORM)" userId="ca21fdc5-a129-4c69-bbf3-257923dd10d2" providerId="ADAL" clId="{3162E07E-6665-4E57-837A-7BD56144007F}" dt="2020-01-10T14:45:48.387" v="179" actId="1076"/>
          <ac:spMkLst>
            <pc:docMk/>
            <pc:sldMk cId="1344990372" sldId="2076137155"/>
            <ac:spMk id="2" creationId="{8A3D2659-13A9-42BA-B423-37B0A5988704}"/>
          </ac:spMkLst>
        </pc:spChg>
        <pc:spChg chg="add mod">
          <ac:chgData name="Chris Huntingford (POWER PLATFORM)" userId="ca21fdc5-a129-4c69-bbf3-257923dd10d2" providerId="ADAL" clId="{3162E07E-6665-4E57-837A-7BD56144007F}" dt="2020-01-10T14:48:17.372" v="230" actId="14100"/>
          <ac:spMkLst>
            <pc:docMk/>
            <pc:sldMk cId="1344990372" sldId="2076137155"/>
            <ac:spMk id="3" creationId="{78EAF5EF-4629-4A4B-85A1-22D50C004AB1}"/>
          </ac:spMkLst>
        </pc:spChg>
        <pc:spChg chg="mod">
          <ac:chgData name="Chris Huntingford (POWER PLATFORM)" userId="ca21fdc5-a129-4c69-bbf3-257923dd10d2" providerId="ADAL" clId="{3162E07E-6665-4E57-837A-7BD56144007F}" dt="2020-01-10T14:45:48.387" v="179" actId="1076"/>
          <ac:spMkLst>
            <pc:docMk/>
            <pc:sldMk cId="1344990372" sldId="2076137155"/>
            <ac:spMk id="5" creationId="{1E9058FE-E37B-451F-8490-486241CAF88B}"/>
          </ac:spMkLst>
        </pc:spChg>
        <pc:spChg chg="del">
          <ac:chgData name="Chris Huntingford (POWER PLATFORM)" userId="ca21fdc5-a129-4c69-bbf3-257923dd10d2" providerId="ADAL" clId="{3162E07E-6665-4E57-837A-7BD56144007F}" dt="2020-01-10T14:36:26.144" v="75" actId="478"/>
          <ac:spMkLst>
            <pc:docMk/>
            <pc:sldMk cId="1344990372" sldId="2076137155"/>
            <ac:spMk id="6" creationId="{C95FAA59-B1D8-43F7-93B6-4B02AFB6376F}"/>
          </ac:spMkLst>
        </pc:spChg>
        <pc:spChg chg="del">
          <ac:chgData name="Chris Huntingford (POWER PLATFORM)" userId="ca21fdc5-a129-4c69-bbf3-257923dd10d2" providerId="ADAL" clId="{3162E07E-6665-4E57-837A-7BD56144007F}" dt="2020-01-10T14:36:26.144" v="75" actId="478"/>
          <ac:spMkLst>
            <pc:docMk/>
            <pc:sldMk cId="1344990372" sldId="2076137155"/>
            <ac:spMk id="7" creationId="{60CFA4F4-8764-481B-A03C-41B2B6CDA3EE}"/>
          </ac:spMkLst>
        </pc:spChg>
        <pc:spChg chg="del">
          <ac:chgData name="Chris Huntingford (POWER PLATFORM)" userId="ca21fdc5-a129-4c69-bbf3-257923dd10d2" providerId="ADAL" clId="{3162E07E-6665-4E57-837A-7BD56144007F}" dt="2020-01-10T14:36:26.144" v="75" actId="478"/>
          <ac:spMkLst>
            <pc:docMk/>
            <pc:sldMk cId="1344990372" sldId="2076137155"/>
            <ac:spMk id="8" creationId="{68FD2EAE-D05D-49D1-940A-026617D789E7}"/>
          </ac:spMkLst>
        </pc:spChg>
        <pc:spChg chg="del mod">
          <ac:chgData name="Chris Huntingford (POWER PLATFORM)" userId="ca21fdc5-a129-4c69-bbf3-257923dd10d2" providerId="ADAL" clId="{3162E07E-6665-4E57-837A-7BD56144007F}" dt="2020-01-10T14:36:30.458" v="78" actId="478"/>
          <ac:spMkLst>
            <pc:docMk/>
            <pc:sldMk cId="1344990372" sldId="2076137155"/>
            <ac:spMk id="9" creationId="{D8D7407C-1AEC-43E7-8120-C86BCD025B3C}"/>
          </ac:spMkLst>
        </pc:spChg>
        <pc:spChg chg="del">
          <ac:chgData name="Chris Huntingford (POWER PLATFORM)" userId="ca21fdc5-a129-4c69-bbf3-257923dd10d2" providerId="ADAL" clId="{3162E07E-6665-4E57-837A-7BD56144007F}" dt="2020-01-10T14:36:23.912" v="74" actId="478"/>
          <ac:spMkLst>
            <pc:docMk/>
            <pc:sldMk cId="1344990372" sldId="2076137155"/>
            <ac:spMk id="10" creationId="{188AF043-E7B5-442B-91EF-C9FC659C8008}"/>
          </ac:spMkLst>
        </pc:spChg>
        <pc:spChg chg="del">
          <ac:chgData name="Chris Huntingford (POWER PLATFORM)" userId="ca21fdc5-a129-4c69-bbf3-257923dd10d2" providerId="ADAL" clId="{3162E07E-6665-4E57-837A-7BD56144007F}" dt="2020-01-10T14:36:26.144" v="75" actId="478"/>
          <ac:spMkLst>
            <pc:docMk/>
            <pc:sldMk cId="1344990372" sldId="2076137155"/>
            <ac:spMk id="11" creationId="{DC81468F-6E4E-47CE-928F-63E423B9238C}"/>
          </ac:spMkLst>
        </pc:spChg>
        <pc:spChg chg="del">
          <ac:chgData name="Chris Huntingford (POWER PLATFORM)" userId="ca21fdc5-a129-4c69-bbf3-257923dd10d2" providerId="ADAL" clId="{3162E07E-6665-4E57-837A-7BD56144007F}" dt="2020-01-10T14:36:26.144" v="75" actId="478"/>
          <ac:spMkLst>
            <pc:docMk/>
            <pc:sldMk cId="1344990372" sldId="2076137155"/>
            <ac:spMk id="12" creationId="{15064101-AA45-434B-84D9-2D5196534010}"/>
          </ac:spMkLst>
        </pc:spChg>
        <pc:spChg chg="del">
          <ac:chgData name="Chris Huntingford (POWER PLATFORM)" userId="ca21fdc5-a129-4c69-bbf3-257923dd10d2" providerId="ADAL" clId="{3162E07E-6665-4E57-837A-7BD56144007F}" dt="2020-01-10T14:36:28.035" v="76" actId="478"/>
          <ac:spMkLst>
            <pc:docMk/>
            <pc:sldMk cId="1344990372" sldId="2076137155"/>
            <ac:spMk id="13" creationId="{0E8F788C-D320-435F-B24B-C32C09D6AE53}"/>
          </ac:spMkLst>
        </pc:spChg>
        <pc:spChg chg="add mod">
          <ac:chgData name="Chris Huntingford (POWER PLATFORM)" userId="ca21fdc5-a129-4c69-bbf3-257923dd10d2" providerId="ADAL" clId="{3162E07E-6665-4E57-837A-7BD56144007F}" dt="2020-01-10T14:45:48.387" v="179" actId="1076"/>
          <ac:spMkLst>
            <pc:docMk/>
            <pc:sldMk cId="1344990372" sldId="2076137155"/>
            <ac:spMk id="14" creationId="{0BE46419-F302-49B0-BCF6-37687F287E19}"/>
          </ac:spMkLst>
        </pc:spChg>
        <pc:spChg chg="add mod">
          <ac:chgData name="Chris Huntingford (POWER PLATFORM)" userId="ca21fdc5-a129-4c69-bbf3-257923dd10d2" providerId="ADAL" clId="{3162E07E-6665-4E57-837A-7BD56144007F}" dt="2020-01-10T14:45:48.387" v="179" actId="1076"/>
          <ac:spMkLst>
            <pc:docMk/>
            <pc:sldMk cId="1344990372" sldId="2076137155"/>
            <ac:spMk id="15" creationId="{7FA75AD4-E2A9-4A04-B1B1-837AE93C8927}"/>
          </ac:spMkLst>
        </pc:spChg>
        <pc:spChg chg="add mod">
          <ac:chgData name="Chris Huntingford (POWER PLATFORM)" userId="ca21fdc5-a129-4c69-bbf3-257923dd10d2" providerId="ADAL" clId="{3162E07E-6665-4E57-837A-7BD56144007F}" dt="2020-01-10T14:45:48.387" v="179" actId="1076"/>
          <ac:spMkLst>
            <pc:docMk/>
            <pc:sldMk cId="1344990372" sldId="2076137155"/>
            <ac:spMk id="16" creationId="{ACE09E07-2E96-4484-8414-D1B402C1A9F9}"/>
          </ac:spMkLst>
        </pc:spChg>
        <pc:spChg chg="add mod">
          <ac:chgData name="Chris Huntingford (POWER PLATFORM)" userId="ca21fdc5-a129-4c69-bbf3-257923dd10d2" providerId="ADAL" clId="{3162E07E-6665-4E57-837A-7BD56144007F}" dt="2020-01-10T14:45:48.387" v="179" actId="1076"/>
          <ac:spMkLst>
            <pc:docMk/>
            <pc:sldMk cId="1344990372" sldId="2076137155"/>
            <ac:spMk id="17" creationId="{DC06F2A1-AF20-410B-8BD8-E38213B0AE45}"/>
          </ac:spMkLst>
        </pc:spChg>
        <pc:spChg chg="add mod">
          <ac:chgData name="Chris Huntingford (POWER PLATFORM)" userId="ca21fdc5-a129-4c69-bbf3-257923dd10d2" providerId="ADAL" clId="{3162E07E-6665-4E57-837A-7BD56144007F}" dt="2020-01-10T14:51:13.753" v="237" actId="1076"/>
          <ac:spMkLst>
            <pc:docMk/>
            <pc:sldMk cId="1344990372" sldId="2076137155"/>
            <ac:spMk id="18" creationId="{4417B285-FAB0-45CE-BB31-881D09322735}"/>
          </ac:spMkLst>
        </pc:spChg>
        <pc:spChg chg="add mod">
          <ac:chgData name="Chris Huntingford (POWER PLATFORM)" userId="ca21fdc5-a129-4c69-bbf3-257923dd10d2" providerId="ADAL" clId="{3162E07E-6665-4E57-837A-7BD56144007F}" dt="2020-01-10T14:51:13.753" v="237" actId="1076"/>
          <ac:spMkLst>
            <pc:docMk/>
            <pc:sldMk cId="1344990372" sldId="2076137155"/>
            <ac:spMk id="19" creationId="{1A431862-3BED-4A12-A2F6-84704A61B4D5}"/>
          </ac:spMkLst>
        </pc:spChg>
        <pc:spChg chg="add mod">
          <ac:chgData name="Chris Huntingford (POWER PLATFORM)" userId="ca21fdc5-a129-4c69-bbf3-257923dd10d2" providerId="ADAL" clId="{3162E07E-6665-4E57-837A-7BD56144007F}" dt="2020-01-10T14:46:37.229" v="206" actId="14100"/>
          <ac:spMkLst>
            <pc:docMk/>
            <pc:sldMk cId="1344990372" sldId="2076137155"/>
            <ac:spMk id="20" creationId="{0035F039-7698-46C7-90B5-4A62FDE0AFEC}"/>
          </ac:spMkLst>
        </pc:spChg>
        <pc:spChg chg="add mod">
          <ac:chgData name="Chris Huntingford (POWER PLATFORM)" userId="ca21fdc5-a129-4c69-bbf3-257923dd10d2" providerId="ADAL" clId="{3162E07E-6665-4E57-837A-7BD56144007F}" dt="2020-01-10T14:46:30.735" v="196" actId="1076"/>
          <ac:spMkLst>
            <pc:docMk/>
            <pc:sldMk cId="1344990372" sldId="2076137155"/>
            <ac:spMk id="21" creationId="{77B0ED15-EE10-4389-98D0-3F3ABD0F4BB1}"/>
          </ac:spMkLst>
        </pc:spChg>
        <pc:spChg chg="add mod">
          <ac:chgData name="Chris Huntingford (POWER PLATFORM)" userId="ca21fdc5-a129-4c69-bbf3-257923dd10d2" providerId="ADAL" clId="{3162E07E-6665-4E57-837A-7BD56144007F}" dt="2020-01-10T14:46:45.145" v="214" actId="20577"/>
          <ac:spMkLst>
            <pc:docMk/>
            <pc:sldMk cId="1344990372" sldId="2076137155"/>
            <ac:spMk id="22" creationId="{BB1B8FB8-1F97-4C56-BEFB-F07F544D85D5}"/>
          </ac:spMkLst>
        </pc:spChg>
        <pc:spChg chg="add mod">
          <ac:chgData name="Chris Huntingford (POWER PLATFORM)" userId="ca21fdc5-a129-4c69-bbf3-257923dd10d2" providerId="ADAL" clId="{3162E07E-6665-4E57-837A-7BD56144007F}" dt="2020-01-10T14:48:01.613" v="227" actId="14100"/>
          <ac:spMkLst>
            <pc:docMk/>
            <pc:sldMk cId="1344990372" sldId="2076137155"/>
            <ac:spMk id="23" creationId="{5A74D100-D4D7-4A70-8033-85BBB2FFE543}"/>
          </ac:spMkLst>
        </pc:spChg>
        <pc:spChg chg="add mod">
          <ac:chgData name="Chris Huntingford (POWER PLATFORM)" userId="ca21fdc5-a129-4c69-bbf3-257923dd10d2" providerId="ADAL" clId="{3162E07E-6665-4E57-837A-7BD56144007F}" dt="2020-01-10T14:47:57.218" v="226" actId="1076"/>
          <ac:spMkLst>
            <pc:docMk/>
            <pc:sldMk cId="1344990372" sldId="2076137155"/>
            <ac:spMk id="24" creationId="{44193C11-95C8-4B4B-A28B-BE882A2F1236}"/>
          </ac:spMkLst>
        </pc:spChg>
        <pc:spChg chg="add mod">
          <ac:chgData name="Chris Huntingford (POWER PLATFORM)" userId="ca21fdc5-a129-4c69-bbf3-257923dd10d2" providerId="ADAL" clId="{3162E07E-6665-4E57-837A-7BD56144007F}" dt="2020-01-10T14:51:15.339" v="238" actId="1076"/>
          <ac:spMkLst>
            <pc:docMk/>
            <pc:sldMk cId="1344990372" sldId="2076137155"/>
            <ac:spMk id="25" creationId="{0930B0A7-7990-4277-B1D8-8EB0DDC5C260}"/>
          </ac:spMkLst>
        </pc:spChg>
        <pc:spChg chg="add mod">
          <ac:chgData name="Chris Huntingford (POWER PLATFORM)" userId="ca21fdc5-a129-4c69-bbf3-257923dd10d2" providerId="ADAL" clId="{3162E07E-6665-4E57-837A-7BD56144007F}" dt="2020-01-10T14:48:32.587" v="236" actId="1076"/>
          <ac:spMkLst>
            <pc:docMk/>
            <pc:sldMk cId="1344990372" sldId="2076137155"/>
            <ac:spMk id="26" creationId="{BC131CD2-3C30-4D5E-86FD-529FF6CDE7E4}"/>
          </ac:spMkLst>
        </pc:spChg>
        <pc:spChg chg="add mod">
          <ac:chgData name="Chris Huntingford (POWER PLATFORM)" userId="ca21fdc5-a129-4c69-bbf3-257923dd10d2" providerId="ADAL" clId="{3162E07E-6665-4E57-837A-7BD56144007F}" dt="2020-01-10T15:13:55.354" v="308" actId="20577"/>
          <ac:spMkLst>
            <pc:docMk/>
            <pc:sldMk cId="1344990372" sldId="2076137155"/>
            <ac:spMk id="27" creationId="{C4C2DF82-2777-4B60-AA15-4FA45932D36C}"/>
          </ac:spMkLst>
        </pc:spChg>
        <pc:spChg chg="add mod">
          <ac:chgData name="Chris Huntingford (POWER PLATFORM)" userId="ca21fdc5-a129-4c69-bbf3-257923dd10d2" providerId="ADAL" clId="{3162E07E-6665-4E57-837A-7BD56144007F}" dt="2020-01-10T15:13:15.461" v="273" actId="20577"/>
          <ac:spMkLst>
            <pc:docMk/>
            <pc:sldMk cId="1344990372" sldId="2076137155"/>
            <ac:spMk id="28" creationId="{3B6C0747-2F90-4134-9E68-C48138FC61F2}"/>
          </ac:spMkLst>
        </pc:spChg>
        <pc:spChg chg="add mod">
          <ac:chgData name="Chris Huntingford (POWER PLATFORM)" userId="ca21fdc5-a129-4c69-bbf3-257923dd10d2" providerId="ADAL" clId="{3162E07E-6665-4E57-837A-7BD56144007F}" dt="2020-01-10T15:11:08.760" v="257" actId="1076"/>
          <ac:spMkLst>
            <pc:docMk/>
            <pc:sldMk cId="1344990372" sldId="2076137155"/>
            <ac:spMk id="29" creationId="{56500801-BDEC-4E21-90DA-51F839D8EA0E}"/>
          </ac:spMkLst>
        </pc:spChg>
        <pc:spChg chg="add mod">
          <ac:chgData name="Chris Huntingford (POWER PLATFORM)" userId="ca21fdc5-a129-4c69-bbf3-257923dd10d2" providerId="ADAL" clId="{3162E07E-6665-4E57-837A-7BD56144007F}" dt="2020-01-10T15:13:50.785" v="304" actId="20577"/>
          <ac:spMkLst>
            <pc:docMk/>
            <pc:sldMk cId="1344990372" sldId="2076137155"/>
            <ac:spMk id="30" creationId="{DC42E56E-B967-4216-8011-42A738ACE062}"/>
          </ac:spMkLst>
        </pc:spChg>
        <pc:spChg chg="add mod">
          <ac:chgData name="Chris Huntingford (POWER PLATFORM)" userId="ca21fdc5-a129-4c69-bbf3-257923dd10d2" providerId="ADAL" clId="{3162E07E-6665-4E57-837A-7BD56144007F}" dt="2020-01-10T15:13:31.153" v="287" actId="20577"/>
          <ac:spMkLst>
            <pc:docMk/>
            <pc:sldMk cId="1344990372" sldId="2076137155"/>
            <ac:spMk id="31" creationId="{52E348F5-3298-4508-A1C1-8E82A7474CA6}"/>
          </ac:spMkLst>
        </pc:spChg>
        <pc:spChg chg="add mod">
          <ac:chgData name="Chris Huntingford (POWER PLATFORM)" userId="ca21fdc5-a129-4c69-bbf3-257923dd10d2" providerId="ADAL" clId="{3162E07E-6665-4E57-837A-7BD56144007F}" dt="2020-01-10T15:13:47.231" v="295" actId="20577"/>
          <ac:spMkLst>
            <pc:docMk/>
            <pc:sldMk cId="1344990372" sldId="2076137155"/>
            <ac:spMk id="32" creationId="{C556F775-F361-4E1F-AA7B-7F86AA2A7B8E}"/>
          </ac:spMkLst>
        </pc:spChg>
        <pc:spChg chg="add mod">
          <ac:chgData name="Chris Huntingford (POWER PLATFORM)" userId="ca21fdc5-a129-4c69-bbf3-257923dd10d2" providerId="ADAL" clId="{3162E07E-6665-4E57-837A-7BD56144007F}" dt="2020-01-10T15:14:01.489" v="310" actId="1076"/>
          <ac:spMkLst>
            <pc:docMk/>
            <pc:sldMk cId="1344990372" sldId="2076137155"/>
            <ac:spMk id="33" creationId="{635205FB-AA45-43BD-8121-3E1D57313D21}"/>
          </ac:spMkLst>
        </pc:spChg>
      </pc:sldChg>
      <pc:sldChg chg="addSp delSp modSp add mod setBg">
        <pc:chgData name="Chris Huntingford (POWER PLATFORM)" userId="ca21fdc5-a129-4c69-bbf3-257923dd10d2" providerId="ADAL" clId="{3162E07E-6665-4E57-837A-7BD56144007F}" dt="2020-04-15T12:30:10.152" v="1116" actId="1076"/>
        <pc:sldMkLst>
          <pc:docMk/>
          <pc:sldMk cId="2185636173" sldId="2076137166"/>
        </pc:sldMkLst>
        <pc:spChg chg="mod">
          <ac:chgData name="Chris Huntingford (POWER PLATFORM)" userId="ca21fdc5-a129-4c69-bbf3-257923dd10d2" providerId="ADAL" clId="{3162E07E-6665-4E57-837A-7BD56144007F}" dt="2020-04-15T12:28:20.118" v="1089" actId="14100"/>
          <ac:spMkLst>
            <pc:docMk/>
            <pc:sldMk cId="2185636173" sldId="2076137166"/>
            <ac:spMk id="2" creationId="{DE8582C8-9E7D-4956-AEEA-D61D450859BF}"/>
          </ac:spMkLst>
        </pc:spChg>
        <pc:spChg chg="add mod">
          <ac:chgData name="Chris Huntingford (POWER PLATFORM)" userId="ca21fdc5-a129-4c69-bbf3-257923dd10d2" providerId="ADAL" clId="{3162E07E-6665-4E57-837A-7BD56144007F}" dt="2020-04-15T12:30:10.152" v="1116" actId="1076"/>
          <ac:spMkLst>
            <pc:docMk/>
            <pc:sldMk cId="2185636173" sldId="2076137166"/>
            <ac:spMk id="9" creationId="{003A073F-70EC-4E0C-B2CD-4E4694F38B07}"/>
          </ac:spMkLst>
        </pc:spChg>
        <pc:spChg chg="del">
          <ac:chgData name="Chris Huntingford (POWER PLATFORM)" userId="ca21fdc5-a129-4c69-bbf3-257923dd10d2" providerId="ADAL" clId="{3162E07E-6665-4E57-837A-7BD56144007F}" dt="2020-02-06T09:28:08.451" v="1047"/>
          <ac:spMkLst>
            <pc:docMk/>
            <pc:sldMk cId="2185636173" sldId="2076137166"/>
            <ac:spMk id="10" creationId="{0BC9EFE1-D8CB-4668-9980-DB108327A794}"/>
          </ac:spMkLst>
        </pc:spChg>
        <pc:spChg chg="del">
          <ac:chgData name="Chris Huntingford (POWER PLATFORM)" userId="ca21fdc5-a129-4c69-bbf3-257923dd10d2" providerId="ADAL" clId="{3162E07E-6665-4E57-837A-7BD56144007F}" dt="2020-02-06T09:28:08.451" v="1047"/>
          <ac:spMkLst>
            <pc:docMk/>
            <pc:sldMk cId="2185636173" sldId="2076137166"/>
            <ac:spMk id="14" creationId="{77DA6D33-2D62-458C-BF5D-DBF612FD557E}"/>
          </ac:spMkLst>
        </pc:spChg>
        <pc:picChg chg="add mod">
          <ac:chgData name="Chris Huntingford (POWER PLATFORM)" userId="ca21fdc5-a129-4c69-bbf3-257923dd10d2" providerId="ADAL" clId="{3162E07E-6665-4E57-837A-7BD56144007F}" dt="2020-04-15T12:27:26.495" v="1071" actId="1076"/>
          <ac:picMkLst>
            <pc:docMk/>
            <pc:sldMk cId="2185636173" sldId="2076137166"/>
            <ac:picMk id="4" creationId="{6EBDF2A9-101F-4D93-AAA1-A7874264E626}"/>
          </ac:picMkLst>
        </pc:picChg>
        <pc:picChg chg="del">
          <ac:chgData name="Chris Huntingford (POWER PLATFORM)" userId="ca21fdc5-a129-4c69-bbf3-257923dd10d2" providerId="ADAL" clId="{3162E07E-6665-4E57-837A-7BD56144007F}" dt="2020-04-15T12:19:45.159" v="1063" actId="478"/>
          <ac:picMkLst>
            <pc:docMk/>
            <pc:sldMk cId="2185636173" sldId="2076137166"/>
            <ac:picMk id="7" creationId="{E41B2B67-EB8C-4B12-9A82-75EE090A2B6D}"/>
          </ac:picMkLst>
        </pc:picChg>
        <pc:picChg chg="add mod">
          <ac:chgData name="Chris Huntingford (POWER PLATFORM)" userId="ca21fdc5-a129-4c69-bbf3-257923dd10d2" providerId="ADAL" clId="{3162E07E-6665-4E57-837A-7BD56144007F}" dt="2020-04-15T12:27:45.751" v="1078" actId="1076"/>
          <ac:picMkLst>
            <pc:docMk/>
            <pc:sldMk cId="2185636173" sldId="2076137166"/>
            <ac:picMk id="8" creationId="{3BAE8397-E55C-4F17-9C9E-37561C03C34C}"/>
          </ac:picMkLst>
        </pc:picChg>
        <pc:picChg chg="del">
          <ac:chgData name="Chris Huntingford (POWER PLATFORM)" userId="ca21fdc5-a129-4c69-bbf3-257923dd10d2" providerId="ADAL" clId="{3162E07E-6665-4E57-837A-7BD56144007F}" dt="2020-02-06T09:28:08.451" v="1047"/>
          <ac:picMkLst>
            <pc:docMk/>
            <pc:sldMk cId="2185636173" sldId="2076137166"/>
            <ac:picMk id="12" creationId="{7CBAE1BD-B8E4-4029-8AA2-C77E4FED9864}"/>
          </ac:picMkLst>
        </pc:picChg>
      </pc:sldChg>
      <pc:sldChg chg="addSp add del ord modNotesTx">
        <pc:chgData name="Chris Huntingford (POWER PLATFORM)" userId="ca21fdc5-a129-4c69-bbf3-257923dd10d2" providerId="ADAL" clId="{3162E07E-6665-4E57-837A-7BD56144007F}" dt="2020-04-22T20:12:50.452" v="4148" actId="47"/>
        <pc:sldMkLst>
          <pc:docMk/>
          <pc:sldMk cId="2248864961" sldId="2076137167"/>
        </pc:sldMkLst>
        <pc:picChg chg="add">
          <ac:chgData name="Chris Huntingford (POWER PLATFORM)" userId="ca21fdc5-a129-4c69-bbf3-257923dd10d2" providerId="ADAL" clId="{3162E07E-6665-4E57-837A-7BD56144007F}" dt="2020-02-06T09:29:13.632" v="1049"/>
          <ac:picMkLst>
            <pc:docMk/>
            <pc:sldMk cId="2248864961" sldId="2076137167"/>
            <ac:picMk id="2050" creationId="{406BBFA9-D749-44FB-B758-79FCCAE2C397}"/>
          </ac:picMkLst>
        </pc:picChg>
      </pc:sldChg>
      <pc:sldChg chg="addSp delSp modSp add mod modShow">
        <pc:chgData name="Chris Huntingford (POWER PLATFORM)" userId="ca21fdc5-a129-4c69-bbf3-257923dd10d2" providerId="ADAL" clId="{3162E07E-6665-4E57-837A-7BD56144007F}" dt="2020-04-20T12:25:41.620" v="4145" actId="729"/>
        <pc:sldMkLst>
          <pc:docMk/>
          <pc:sldMk cId="2367804649" sldId="2076137168"/>
        </pc:sldMkLst>
        <pc:spChg chg="mod">
          <ac:chgData name="Chris Huntingford (POWER PLATFORM)" userId="ca21fdc5-a129-4c69-bbf3-257923dd10d2" providerId="ADAL" clId="{3162E07E-6665-4E57-837A-7BD56144007F}" dt="2020-04-15T12:33:21.955" v="1159" actId="20577"/>
          <ac:spMkLst>
            <pc:docMk/>
            <pc:sldMk cId="2367804649" sldId="2076137168"/>
            <ac:spMk id="2" creationId="{8BEAC48B-0406-458D-BAEB-406C6A43FA08}"/>
          </ac:spMkLst>
        </pc:spChg>
        <pc:spChg chg="del mod">
          <ac:chgData name="Chris Huntingford (POWER PLATFORM)" userId="ca21fdc5-a129-4c69-bbf3-257923dd10d2" providerId="ADAL" clId="{3162E07E-6665-4E57-837A-7BD56144007F}" dt="2020-04-15T12:37:57.533" v="1463" actId="478"/>
          <ac:spMkLst>
            <pc:docMk/>
            <pc:sldMk cId="2367804649" sldId="2076137168"/>
            <ac:spMk id="3" creationId="{0C10470C-6D8F-4B2F-AED5-FA3E8C513686}"/>
          </ac:spMkLst>
        </pc:spChg>
        <pc:spChg chg="add del mod">
          <ac:chgData name="Chris Huntingford (POWER PLATFORM)" userId="ca21fdc5-a129-4c69-bbf3-257923dd10d2" providerId="ADAL" clId="{3162E07E-6665-4E57-837A-7BD56144007F}" dt="2020-04-15T12:38:00.115" v="1464" actId="478"/>
          <ac:spMkLst>
            <pc:docMk/>
            <pc:sldMk cId="2367804649" sldId="2076137168"/>
            <ac:spMk id="7" creationId="{ED5420F2-4A6F-4677-B92D-72459F266FAE}"/>
          </ac:spMkLst>
        </pc:spChg>
        <pc:graphicFrameChg chg="add mod modGraphic">
          <ac:chgData name="Chris Huntingford (POWER PLATFORM)" userId="ca21fdc5-a129-4c69-bbf3-257923dd10d2" providerId="ADAL" clId="{3162E07E-6665-4E57-837A-7BD56144007F}" dt="2020-04-20T12:21:16.791" v="4048" actId="20577"/>
          <ac:graphicFrameMkLst>
            <pc:docMk/>
            <pc:sldMk cId="2367804649" sldId="2076137168"/>
            <ac:graphicFrameMk id="4" creationId="{0FF57792-0DC5-419E-9F50-EBA5DAD1FF8C}"/>
          </ac:graphicFrameMkLst>
        </pc:graphicFrameChg>
      </pc:sldChg>
      <pc:sldChg chg="add">
        <pc:chgData name="Chris Huntingford (POWER PLATFORM)" userId="ca21fdc5-a129-4c69-bbf3-257923dd10d2" providerId="ADAL" clId="{3162E07E-6665-4E57-837A-7BD56144007F}" dt="2020-04-15T12:40:09.322" v="1470" actId="22"/>
        <pc:sldMkLst>
          <pc:docMk/>
          <pc:sldMk cId="49616285" sldId="2076137169"/>
        </pc:sldMkLst>
      </pc:sldChg>
      <pc:sldChg chg="add modNotesTx">
        <pc:chgData name="Chris Huntingford (POWER PLATFORM)" userId="ca21fdc5-a129-4c69-bbf3-257923dd10d2" providerId="ADAL" clId="{3162E07E-6665-4E57-837A-7BD56144007F}" dt="2020-04-15T12:42:44.765" v="1937" actId="20577"/>
        <pc:sldMkLst>
          <pc:docMk/>
          <pc:sldMk cId="3248026230" sldId="2076137170"/>
        </pc:sldMkLst>
      </pc:sldChg>
      <pc:sldChg chg="add">
        <pc:chgData name="Chris Huntingford (POWER PLATFORM)" userId="ca21fdc5-a129-4c69-bbf3-257923dd10d2" providerId="ADAL" clId="{3162E07E-6665-4E57-837A-7BD56144007F}" dt="2020-04-15T12:40:09.322" v="1470" actId="22"/>
        <pc:sldMkLst>
          <pc:docMk/>
          <pc:sldMk cId="2181830556" sldId="2076137171"/>
        </pc:sldMkLst>
      </pc:sldChg>
      <pc:sldChg chg="add">
        <pc:chgData name="Chris Huntingford (POWER PLATFORM)" userId="ca21fdc5-a129-4c69-bbf3-257923dd10d2" providerId="ADAL" clId="{3162E07E-6665-4E57-837A-7BD56144007F}" dt="2020-04-15T12:40:09.322" v="1470" actId="22"/>
        <pc:sldMkLst>
          <pc:docMk/>
          <pc:sldMk cId="981187072" sldId="2076137172"/>
        </pc:sldMkLst>
      </pc:sldChg>
      <pc:sldChg chg="modSp add">
        <pc:chgData name="Chris Huntingford (POWER PLATFORM)" userId="ca21fdc5-a129-4c69-bbf3-257923dd10d2" providerId="ADAL" clId="{3162E07E-6665-4E57-837A-7BD56144007F}" dt="2020-04-15T12:44:32.002" v="1947" actId="20577"/>
        <pc:sldMkLst>
          <pc:docMk/>
          <pc:sldMk cId="2041422452" sldId="2076137173"/>
        </pc:sldMkLst>
        <pc:spChg chg="mod">
          <ac:chgData name="Chris Huntingford (POWER PLATFORM)" userId="ca21fdc5-a129-4c69-bbf3-257923dd10d2" providerId="ADAL" clId="{3162E07E-6665-4E57-837A-7BD56144007F}" dt="2020-04-15T12:44:32.002" v="1947" actId="20577"/>
          <ac:spMkLst>
            <pc:docMk/>
            <pc:sldMk cId="2041422452" sldId="2076137173"/>
            <ac:spMk id="416" creationId="{002E5794-871F-40C2-A1EB-EE7F9D137F08}"/>
          </ac:spMkLst>
        </pc:spChg>
      </pc:sldChg>
      <pc:sldChg chg="add">
        <pc:chgData name="Chris Huntingford (POWER PLATFORM)" userId="ca21fdc5-a129-4c69-bbf3-257923dd10d2" providerId="ADAL" clId="{3162E07E-6665-4E57-837A-7BD56144007F}" dt="2020-04-15T12:44:21.765" v="1941" actId="22"/>
        <pc:sldMkLst>
          <pc:docMk/>
          <pc:sldMk cId="3018520063" sldId="2076137174"/>
        </pc:sldMkLst>
      </pc:sldChg>
      <pc:sldChg chg="add">
        <pc:chgData name="Chris Huntingford (POWER PLATFORM)" userId="ca21fdc5-a129-4c69-bbf3-257923dd10d2" providerId="ADAL" clId="{3162E07E-6665-4E57-837A-7BD56144007F}" dt="2020-04-15T12:45:16.032" v="1958" actId="22"/>
        <pc:sldMkLst>
          <pc:docMk/>
          <pc:sldMk cId="1316624059" sldId="2076137175"/>
        </pc:sldMkLst>
      </pc:sldChg>
      <pc:sldChg chg="add">
        <pc:chgData name="Chris Huntingford (POWER PLATFORM)" userId="ca21fdc5-a129-4c69-bbf3-257923dd10d2" providerId="ADAL" clId="{3162E07E-6665-4E57-837A-7BD56144007F}" dt="2020-04-15T12:45:39.230" v="1960" actId="22"/>
        <pc:sldMkLst>
          <pc:docMk/>
          <pc:sldMk cId="2777382488" sldId="2076137176"/>
        </pc:sldMkLst>
      </pc:sldChg>
      <pc:sldChg chg="add">
        <pc:chgData name="Chris Huntingford (POWER PLATFORM)" userId="ca21fdc5-a129-4c69-bbf3-257923dd10d2" providerId="ADAL" clId="{3162E07E-6665-4E57-837A-7BD56144007F}" dt="2020-04-15T12:53:49.648" v="1961" actId="22"/>
        <pc:sldMkLst>
          <pc:docMk/>
          <pc:sldMk cId="3190594652" sldId="2076137177"/>
        </pc:sldMkLst>
      </pc:sldChg>
      <pc:sldChg chg="add ord">
        <pc:chgData name="Chris Huntingford (POWER PLATFORM)" userId="ca21fdc5-a129-4c69-bbf3-257923dd10d2" providerId="ADAL" clId="{3162E07E-6665-4E57-837A-7BD56144007F}" dt="2020-04-22T20:10:52.516" v="4147"/>
        <pc:sldMkLst>
          <pc:docMk/>
          <pc:sldMk cId="2197475078" sldId="2076137178"/>
        </pc:sldMkLst>
      </pc:sldChg>
      <pc:sldChg chg="add">
        <pc:chgData name="Chris Huntingford (POWER PLATFORM)" userId="ca21fdc5-a129-4c69-bbf3-257923dd10d2" providerId="ADAL" clId="{3162E07E-6665-4E57-837A-7BD56144007F}" dt="2020-04-15T13:04:56.435" v="1970" actId="22"/>
        <pc:sldMkLst>
          <pc:docMk/>
          <pc:sldMk cId="2006733278" sldId="2076137179"/>
        </pc:sldMkLst>
      </pc:sldChg>
      <pc:sldChg chg="add">
        <pc:chgData name="Chris Huntingford (POWER PLATFORM)" userId="ca21fdc5-a129-4c69-bbf3-257923dd10d2" providerId="ADAL" clId="{3162E07E-6665-4E57-837A-7BD56144007F}" dt="2020-04-15T13:04:56.435" v="1970" actId="22"/>
        <pc:sldMkLst>
          <pc:docMk/>
          <pc:sldMk cId="1881103053" sldId="2076137180"/>
        </pc:sldMkLst>
      </pc:sldChg>
      <pc:sldChg chg="add">
        <pc:chgData name="Chris Huntingford (POWER PLATFORM)" userId="ca21fdc5-a129-4c69-bbf3-257923dd10d2" providerId="ADAL" clId="{3162E07E-6665-4E57-837A-7BD56144007F}" dt="2020-04-15T13:04:56.435" v="1970" actId="22"/>
        <pc:sldMkLst>
          <pc:docMk/>
          <pc:sldMk cId="3746436074" sldId="2076137181"/>
        </pc:sldMkLst>
      </pc:sldChg>
      <pc:sldChg chg="add">
        <pc:chgData name="Chris Huntingford (POWER PLATFORM)" userId="ca21fdc5-a129-4c69-bbf3-257923dd10d2" providerId="ADAL" clId="{3162E07E-6665-4E57-837A-7BD56144007F}" dt="2020-04-15T13:06:03.721" v="1973" actId="22"/>
        <pc:sldMkLst>
          <pc:docMk/>
          <pc:sldMk cId="533077902" sldId="2076137182"/>
        </pc:sldMkLst>
      </pc:sldChg>
      <pc:sldChg chg="modSp add mod">
        <pc:chgData name="Chris Huntingford (POWER PLATFORM)" userId="ca21fdc5-a129-4c69-bbf3-257923dd10d2" providerId="ADAL" clId="{3162E07E-6665-4E57-837A-7BD56144007F}" dt="2020-04-22T20:16:10.844" v="4153" actId="1076"/>
        <pc:sldMkLst>
          <pc:docMk/>
          <pc:sldMk cId="2028168318" sldId="2076137183"/>
        </pc:sldMkLst>
        <pc:spChg chg="mod">
          <ac:chgData name="Chris Huntingford (POWER PLATFORM)" userId="ca21fdc5-a129-4c69-bbf3-257923dd10d2" providerId="ADAL" clId="{3162E07E-6665-4E57-837A-7BD56144007F}" dt="2020-04-22T20:16:10.844" v="4153" actId="1076"/>
          <ac:spMkLst>
            <pc:docMk/>
            <pc:sldMk cId="2028168318" sldId="2076137183"/>
            <ac:spMk id="3" creationId="{00B377EE-C3A2-4332-B3A1-29C0A299A448}"/>
          </ac:spMkLst>
        </pc:spChg>
        <pc:spChg chg="mod">
          <ac:chgData name="Chris Huntingford (POWER PLATFORM)" userId="ca21fdc5-a129-4c69-bbf3-257923dd10d2" providerId="ADAL" clId="{3162E07E-6665-4E57-837A-7BD56144007F}" dt="2020-04-20T12:07:38.438" v="4042" actId="15"/>
          <ac:spMkLst>
            <pc:docMk/>
            <pc:sldMk cId="2028168318" sldId="2076137183"/>
            <ac:spMk id="20" creationId="{B017D690-4A10-499A-A9C6-0851058E91B7}"/>
          </ac:spMkLst>
        </pc:spChg>
      </pc:sldChg>
      <pc:sldChg chg="addSp delSp modSp add mod modNotesTx">
        <pc:chgData name="Chris Huntingford (POWER PLATFORM)" userId="ca21fdc5-a129-4c69-bbf3-257923dd10d2" providerId="ADAL" clId="{3162E07E-6665-4E57-837A-7BD56144007F}" dt="2020-04-22T20:15:51.481" v="4152" actId="1076"/>
        <pc:sldMkLst>
          <pc:docMk/>
          <pc:sldMk cId="2016623564" sldId="2076137184"/>
        </pc:sldMkLst>
        <pc:spChg chg="mod">
          <ac:chgData name="Chris Huntingford (POWER PLATFORM)" userId="ca21fdc5-a129-4c69-bbf3-257923dd10d2" providerId="ADAL" clId="{3162E07E-6665-4E57-837A-7BD56144007F}" dt="2020-04-16T08:18:20.774" v="3542" actId="20577"/>
          <ac:spMkLst>
            <pc:docMk/>
            <pc:sldMk cId="2016623564" sldId="2076137184"/>
            <ac:spMk id="2" creationId="{74D60CA8-CF31-42D5-9E41-CD9D72659ECD}"/>
          </ac:spMkLst>
        </pc:spChg>
        <pc:spChg chg="mod">
          <ac:chgData name="Chris Huntingford (POWER PLATFORM)" userId="ca21fdc5-a129-4c69-bbf3-257923dd10d2" providerId="ADAL" clId="{3162E07E-6665-4E57-837A-7BD56144007F}" dt="2020-04-16T09:28:26.478" v="3983" actId="1076"/>
          <ac:spMkLst>
            <pc:docMk/>
            <pc:sldMk cId="2016623564" sldId="2076137184"/>
            <ac:spMk id="11" creationId="{D189311A-C511-4F2A-B781-F77894700663}"/>
          </ac:spMkLst>
        </pc:spChg>
        <pc:spChg chg="mod">
          <ac:chgData name="Chris Huntingford (POWER PLATFORM)" userId="ca21fdc5-a129-4c69-bbf3-257923dd10d2" providerId="ADAL" clId="{3162E07E-6665-4E57-837A-7BD56144007F}" dt="2020-04-16T08:13:53.141" v="3025" actId="1076"/>
          <ac:spMkLst>
            <pc:docMk/>
            <pc:sldMk cId="2016623564" sldId="2076137184"/>
            <ac:spMk id="12" creationId="{DAEA64CB-6E00-4375-9F52-47D050E99E48}"/>
          </ac:spMkLst>
        </pc:spChg>
        <pc:spChg chg="mod ord">
          <ac:chgData name="Chris Huntingford (POWER PLATFORM)" userId="ca21fdc5-a129-4c69-bbf3-257923dd10d2" providerId="ADAL" clId="{3162E07E-6665-4E57-837A-7BD56144007F}" dt="2020-04-22T20:15:51.481" v="4152" actId="1076"/>
          <ac:spMkLst>
            <pc:docMk/>
            <pc:sldMk cId="2016623564" sldId="2076137184"/>
            <ac:spMk id="15" creationId="{64D83981-1862-48F8-9234-8A723E89ECFC}"/>
          </ac:spMkLst>
        </pc:spChg>
        <pc:picChg chg="add del mod">
          <ac:chgData name="Chris Huntingford (POWER PLATFORM)" userId="ca21fdc5-a129-4c69-bbf3-257923dd10d2" providerId="ADAL" clId="{3162E07E-6665-4E57-837A-7BD56144007F}" dt="2020-04-16T08:07:08.998" v="2916" actId="478"/>
          <ac:picMkLst>
            <pc:docMk/>
            <pc:sldMk cId="2016623564" sldId="2076137184"/>
            <ac:picMk id="3" creationId="{8CB52BB5-053E-45A1-AE80-67C2E8D27266}"/>
          </ac:picMkLst>
        </pc:picChg>
        <pc:picChg chg="add mod">
          <ac:chgData name="Chris Huntingford (POWER PLATFORM)" userId="ca21fdc5-a129-4c69-bbf3-257923dd10d2" providerId="ADAL" clId="{3162E07E-6665-4E57-837A-7BD56144007F}" dt="2020-04-16T09:28:21.879" v="3982" actId="1076"/>
          <ac:picMkLst>
            <pc:docMk/>
            <pc:sldMk cId="2016623564" sldId="2076137184"/>
            <ac:picMk id="9" creationId="{9835904F-5881-4B22-833B-7D73E7CC9E8C}"/>
          </ac:picMkLst>
        </pc:picChg>
        <pc:picChg chg="del mod">
          <ac:chgData name="Chris Huntingford (POWER PLATFORM)" userId="ca21fdc5-a129-4c69-bbf3-257923dd10d2" providerId="ADAL" clId="{3162E07E-6665-4E57-837A-7BD56144007F}" dt="2020-04-16T09:14:28.480" v="3543" actId="478"/>
          <ac:picMkLst>
            <pc:docMk/>
            <pc:sldMk cId="2016623564" sldId="2076137184"/>
            <ac:picMk id="16" creationId="{94D5F0A0-33FF-4268-BCF9-36278C4B311F}"/>
          </ac:picMkLst>
        </pc:picChg>
        <pc:picChg chg="add mod">
          <ac:chgData name="Chris Huntingford (POWER PLATFORM)" userId="ca21fdc5-a129-4c69-bbf3-257923dd10d2" providerId="ADAL" clId="{3162E07E-6665-4E57-837A-7BD56144007F}" dt="2020-04-16T09:30:30.078" v="3991" actId="1076"/>
          <ac:picMkLst>
            <pc:docMk/>
            <pc:sldMk cId="2016623564" sldId="2076137184"/>
            <ac:picMk id="19" creationId="{416BD2CA-8DB7-4CD3-A803-6306F9E63936}"/>
          </ac:picMkLst>
        </pc:picChg>
        <pc:picChg chg="del">
          <ac:chgData name="Chris Huntingford (POWER PLATFORM)" userId="ca21fdc5-a129-4c69-bbf3-257923dd10d2" providerId="ADAL" clId="{3162E07E-6665-4E57-837A-7BD56144007F}" dt="2020-04-16T09:30:53.374" v="3992" actId="478"/>
          <ac:picMkLst>
            <pc:docMk/>
            <pc:sldMk cId="2016623564" sldId="2076137184"/>
            <ac:picMk id="20" creationId="{7DF3B2BF-ACA6-4A95-8312-6EFA5F6A0D97}"/>
          </ac:picMkLst>
        </pc:picChg>
        <pc:picChg chg="del">
          <ac:chgData name="Chris Huntingford (POWER PLATFORM)" userId="ca21fdc5-a129-4c69-bbf3-257923dd10d2" providerId="ADAL" clId="{3162E07E-6665-4E57-837A-7BD56144007F}" dt="2020-04-16T08:06:59.989" v="2913" actId="478"/>
          <ac:picMkLst>
            <pc:docMk/>
            <pc:sldMk cId="2016623564" sldId="2076137184"/>
            <ac:picMk id="22" creationId="{6DDF31DC-AFEB-481D-A0BF-9307717DF1A5}"/>
          </ac:picMkLst>
        </pc:picChg>
        <pc:picChg chg="add mod">
          <ac:chgData name="Chris Huntingford (POWER PLATFORM)" userId="ca21fdc5-a129-4c69-bbf3-257923dd10d2" providerId="ADAL" clId="{3162E07E-6665-4E57-837A-7BD56144007F}" dt="2020-04-16T09:32:04.078" v="4004" actId="1076"/>
          <ac:picMkLst>
            <pc:docMk/>
            <pc:sldMk cId="2016623564" sldId="2076137184"/>
            <ac:picMk id="23" creationId="{D652A05C-8DF0-4ACF-9DDB-06E1A4E337AB}"/>
          </ac:picMkLst>
        </pc:picChg>
      </pc:sldChg>
      <pc:sldChg chg="add">
        <pc:chgData name="Chris Huntingford (POWER PLATFORM)" userId="ca21fdc5-a129-4c69-bbf3-257923dd10d2" providerId="ADAL" clId="{3162E07E-6665-4E57-837A-7BD56144007F}" dt="2020-04-15T13:06:03.721" v="1973" actId="22"/>
        <pc:sldMkLst>
          <pc:docMk/>
          <pc:sldMk cId="2047519450" sldId="2076137185"/>
        </pc:sldMkLst>
      </pc:sldChg>
      <pc:sldChg chg="add ord">
        <pc:chgData name="Chris Huntingford (POWER PLATFORM)" userId="ca21fdc5-a129-4c69-bbf3-257923dd10d2" providerId="ADAL" clId="{3162E07E-6665-4E57-837A-7BD56144007F}" dt="2020-04-15T13:06:29.851" v="1977"/>
        <pc:sldMkLst>
          <pc:docMk/>
          <pc:sldMk cId="3783111359" sldId="2076137186"/>
        </pc:sldMkLst>
      </pc:sldChg>
      <pc:sldChg chg="addSp delSp modSp new mod modClrScheme modShow chgLayout">
        <pc:chgData name="Chris Huntingford (POWER PLATFORM)" userId="ca21fdc5-a129-4c69-bbf3-257923dd10d2" providerId="ADAL" clId="{3162E07E-6665-4E57-837A-7BD56144007F}" dt="2020-04-22T20:22:51.102" v="4154" actId="729"/>
        <pc:sldMkLst>
          <pc:docMk/>
          <pc:sldMk cId="1046007577" sldId="2076137187"/>
        </pc:sldMkLst>
        <pc:spChg chg="del mod ord">
          <ac:chgData name="Chris Huntingford (POWER PLATFORM)" userId="ca21fdc5-a129-4c69-bbf3-257923dd10d2" providerId="ADAL" clId="{3162E07E-6665-4E57-837A-7BD56144007F}" dt="2020-04-15T13:09:42.093" v="2002" actId="700"/>
          <ac:spMkLst>
            <pc:docMk/>
            <pc:sldMk cId="1046007577" sldId="2076137187"/>
            <ac:spMk id="2" creationId="{923092EE-8901-4AA2-87C1-E6A8D46749F2}"/>
          </ac:spMkLst>
        </pc:spChg>
        <pc:spChg chg="del mod ord">
          <ac:chgData name="Chris Huntingford (POWER PLATFORM)" userId="ca21fdc5-a129-4c69-bbf3-257923dd10d2" providerId="ADAL" clId="{3162E07E-6665-4E57-837A-7BD56144007F}" dt="2020-04-15T13:09:42.093" v="2002" actId="700"/>
          <ac:spMkLst>
            <pc:docMk/>
            <pc:sldMk cId="1046007577" sldId="2076137187"/>
            <ac:spMk id="3" creationId="{B32BE0CB-5B82-4D63-8D1A-3EAE46A42C90}"/>
          </ac:spMkLst>
        </pc:spChg>
        <pc:spChg chg="add mod ord">
          <ac:chgData name="Chris Huntingford (POWER PLATFORM)" userId="ca21fdc5-a129-4c69-bbf3-257923dd10d2" providerId="ADAL" clId="{3162E07E-6665-4E57-837A-7BD56144007F}" dt="2020-04-15T13:10:08.076" v="2024" actId="700"/>
          <ac:spMkLst>
            <pc:docMk/>
            <pc:sldMk cId="1046007577" sldId="2076137187"/>
            <ac:spMk id="4" creationId="{2F54C0BE-1FC6-442E-86AE-C10877F81999}"/>
          </ac:spMkLst>
        </pc:spChg>
        <pc:spChg chg="add del mod ord">
          <ac:chgData name="Chris Huntingford (POWER PLATFORM)" userId="ca21fdc5-a129-4c69-bbf3-257923dd10d2" providerId="ADAL" clId="{3162E07E-6665-4E57-837A-7BD56144007F}" dt="2020-04-15T13:10:08.076" v="2024" actId="700"/>
          <ac:spMkLst>
            <pc:docMk/>
            <pc:sldMk cId="1046007577" sldId="2076137187"/>
            <ac:spMk id="5" creationId="{32882BC0-DC18-4841-9BA3-E783F8683C26}"/>
          </ac:spMkLst>
        </pc:spChg>
        <pc:spChg chg="add mod ord">
          <ac:chgData name="Chris Huntingford (POWER PLATFORM)" userId="ca21fdc5-a129-4c69-bbf3-257923dd10d2" providerId="ADAL" clId="{3162E07E-6665-4E57-837A-7BD56144007F}" dt="2020-04-15T13:11:33.313" v="2154" actId="20577"/>
          <ac:spMkLst>
            <pc:docMk/>
            <pc:sldMk cId="1046007577" sldId="2076137187"/>
            <ac:spMk id="6" creationId="{26A503F7-8765-4607-9EF0-DC4A750C44B4}"/>
          </ac:spMkLst>
        </pc:spChg>
        <pc:spChg chg="add del mod ord">
          <ac:chgData name="Chris Huntingford (POWER PLATFORM)" userId="ca21fdc5-a129-4c69-bbf3-257923dd10d2" providerId="ADAL" clId="{3162E07E-6665-4E57-837A-7BD56144007F}" dt="2020-04-15T13:10:47.338" v="2035" actId="478"/>
          <ac:spMkLst>
            <pc:docMk/>
            <pc:sldMk cId="1046007577" sldId="2076137187"/>
            <ac:spMk id="7" creationId="{6A198ACA-F312-4DF3-88DC-3904C63306A0}"/>
          </ac:spMkLst>
        </pc:spChg>
        <pc:spChg chg="add del mod ord">
          <ac:chgData name="Chris Huntingford (POWER PLATFORM)" userId="ca21fdc5-a129-4c69-bbf3-257923dd10d2" providerId="ADAL" clId="{3162E07E-6665-4E57-837A-7BD56144007F}" dt="2020-04-16T14:40:43.851" v="4040" actId="478"/>
          <ac:spMkLst>
            <pc:docMk/>
            <pc:sldMk cId="1046007577" sldId="2076137187"/>
            <ac:spMk id="8" creationId="{8220F9C4-57D8-4693-97CB-493E7CA6038C}"/>
          </ac:spMkLst>
        </pc:spChg>
        <pc:picChg chg="add del mod">
          <ac:chgData name="Chris Huntingford (POWER PLATFORM)" userId="ca21fdc5-a129-4c69-bbf3-257923dd10d2" providerId="ADAL" clId="{3162E07E-6665-4E57-837A-7BD56144007F}" dt="2020-04-15T13:10:43.667" v="2033" actId="931"/>
          <ac:picMkLst>
            <pc:docMk/>
            <pc:sldMk cId="1046007577" sldId="2076137187"/>
            <ac:picMk id="10" creationId="{A73826CA-DA48-4336-8076-A5B5F7292C9E}"/>
          </ac:picMkLst>
        </pc:picChg>
        <pc:picChg chg="add mod">
          <ac:chgData name="Chris Huntingford (POWER PLATFORM)" userId="ca21fdc5-a129-4c69-bbf3-257923dd10d2" providerId="ADAL" clId="{3162E07E-6665-4E57-837A-7BD56144007F}" dt="2020-04-15T13:11:01.472" v="2039" actId="1076"/>
          <ac:picMkLst>
            <pc:docMk/>
            <pc:sldMk cId="1046007577" sldId="2076137187"/>
            <ac:picMk id="12" creationId="{95AB91CF-C92C-4A8A-9399-555C3B4A2044}"/>
          </ac:picMkLst>
        </pc:picChg>
      </pc:sldChg>
      <pc:sldChg chg="addSp delSp modSp add mod">
        <pc:chgData name="Chris Huntingford (POWER PLATFORM)" userId="ca21fdc5-a129-4c69-bbf3-257923dd10d2" providerId="ADAL" clId="{3162E07E-6665-4E57-837A-7BD56144007F}" dt="2020-04-16T08:00:05.447" v="2630" actId="20577"/>
        <pc:sldMkLst>
          <pc:docMk/>
          <pc:sldMk cId="3885250925" sldId="2076137188"/>
        </pc:sldMkLst>
        <pc:spChg chg="mod">
          <ac:chgData name="Chris Huntingford (POWER PLATFORM)" userId="ca21fdc5-a129-4c69-bbf3-257923dd10d2" providerId="ADAL" clId="{3162E07E-6665-4E57-837A-7BD56144007F}" dt="2020-04-15T13:12:05.416" v="2173" actId="20577"/>
          <ac:spMkLst>
            <pc:docMk/>
            <pc:sldMk cId="3885250925" sldId="2076137188"/>
            <ac:spMk id="4" creationId="{2F54C0BE-1FC6-442E-86AE-C10877F81999}"/>
          </ac:spMkLst>
        </pc:spChg>
        <pc:spChg chg="mod">
          <ac:chgData name="Chris Huntingford (POWER PLATFORM)" userId="ca21fdc5-a129-4c69-bbf3-257923dd10d2" providerId="ADAL" clId="{3162E07E-6665-4E57-837A-7BD56144007F}" dt="2020-04-16T08:00:05.447" v="2630" actId="20577"/>
          <ac:spMkLst>
            <pc:docMk/>
            <pc:sldMk cId="3885250925" sldId="2076137188"/>
            <ac:spMk id="6" creationId="{26A503F7-8765-4607-9EF0-DC4A750C44B4}"/>
          </ac:spMkLst>
        </pc:spChg>
        <pc:spChg chg="del">
          <ac:chgData name="Chris Huntingford (POWER PLATFORM)" userId="ca21fdc5-a129-4c69-bbf3-257923dd10d2" providerId="ADAL" clId="{3162E07E-6665-4E57-837A-7BD56144007F}" dt="2020-04-15T13:12:09.313" v="2174" actId="478"/>
          <ac:spMkLst>
            <pc:docMk/>
            <pc:sldMk cId="3885250925" sldId="2076137188"/>
            <ac:spMk id="8" creationId="{8220F9C4-57D8-4693-97CB-493E7CA6038C}"/>
          </ac:spMkLst>
        </pc:spChg>
        <pc:picChg chg="add mod">
          <ac:chgData name="Chris Huntingford (POWER PLATFORM)" userId="ca21fdc5-a129-4c69-bbf3-257923dd10d2" providerId="ADAL" clId="{3162E07E-6665-4E57-837A-7BD56144007F}" dt="2020-04-15T13:12:59.911" v="2249" actId="1076"/>
          <ac:picMkLst>
            <pc:docMk/>
            <pc:sldMk cId="3885250925" sldId="2076137188"/>
            <ac:picMk id="3" creationId="{BC602D5A-F885-4D6C-A276-50128EAEA548}"/>
          </ac:picMkLst>
        </pc:picChg>
        <pc:picChg chg="del mod">
          <ac:chgData name="Chris Huntingford (POWER PLATFORM)" userId="ca21fdc5-a129-4c69-bbf3-257923dd10d2" providerId="ADAL" clId="{3162E07E-6665-4E57-837A-7BD56144007F}" dt="2020-04-15T13:12:58.321" v="2248" actId="478"/>
          <ac:picMkLst>
            <pc:docMk/>
            <pc:sldMk cId="3885250925" sldId="2076137188"/>
            <ac:picMk id="12" creationId="{95AB91CF-C92C-4A8A-9399-555C3B4A2044}"/>
          </ac:picMkLst>
        </pc:picChg>
      </pc:sldChg>
      <pc:sldChg chg="addSp delSp new del mod">
        <pc:chgData name="Chris Huntingford (POWER PLATFORM)" userId="ca21fdc5-a129-4c69-bbf3-257923dd10d2" providerId="ADAL" clId="{3162E07E-6665-4E57-837A-7BD56144007F}" dt="2020-04-22T20:42:52.680" v="4199" actId="47"/>
        <pc:sldMkLst>
          <pc:docMk/>
          <pc:sldMk cId="1996702607" sldId="2076137189"/>
        </pc:sldMkLst>
        <pc:spChg chg="add del">
          <ac:chgData name="Chris Huntingford (POWER PLATFORM)" userId="ca21fdc5-a129-4c69-bbf3-257923dd10d2" providerId="ADAL" clId="{3162E07E-6665-4E57-837A-7BD56144007F}" dt="2020-04-16T08:01:29.447" v="2634" actId="22"/>
          <ac:spMkLst>
            <pc:docMk/>
            <pc:sldMk cId="1996702607" sldId="2076137189"/>
            <ac:spMk id="3" creationId="{A061B052-81EC-4297-A0A7-60C0637AEAA8}"/>
          </ac:spMkLst>
        </pc:spChg>
        <pc:spChg chg="add">
          <ac:chgData name="Chris Huntingford (POWER PLATFORM)" userId="ca21fdc5-a129-4c69-bbf3-257923dd10d2" providerId="ADAL" clId="{3162E07E-6665-4E57-837A-7BD56144007F}" dt="2020-04-16T08:01:34.919" v="2635" actId="22"/>
          <ac:spMkLst>
            <pc:docMk/>
            <pc:sldMk cId="1996702607" sldId="2076137189"/>
            <ac:spMk id="5" creationId="{E536618A-6662-4B1A-9A27-5EBDDC7DBDD3}"/>
          </ac:spMkLst>
        </pc:spChg>
      </pc:sldChg>
      <pc:sldChg chg="modSp add mod">
        <pc:chgData name="Chris Huntingford (POWER PLATFORM)" userId="ca21fdc5-a129-4c69-bbf3-257923dd10d2" providerId="ADAL" clId="{3162E07E-6665-4E57-837A-7BD56144007F}" dt="2020-04-20T12:24:41.221" v="4144" actId="2165"/>
        <pc:sldMkLst>
          <pc:docMk/>
          <pc:sldMk cId="2860476999" sldId="2076137190"/>
        </pc:sldMkLst>
        <pc:spChg chg="mod">
          <ac:chgData name="Chris Huntingford (POWER PLATFORM)" userId="ca21fdc5-a129-4c69-bbf3-257923dd10d2" providerId="ADAL" clId="{3162E07E-6665-4E57-837A-7BD56144007F}" dt="2020-04-20T12:22:16.671" v="4068" actId="1076"/>
          <ac:spMkLst>
            <pc:docMk/>
            <pc:sldMk cId="2860476999" sldId="2076137190"/>
            <ac:spMk id="2" creationId="{8BEAC48B-0406-458D-BAEB-406C6A43FA08}"/>
          </ac:spMkLst>
        </pc:spChg>
        <pc:graphicFrameChg chg="mod modGraphic">
          <ac:chgData name="Chris Huntingford (POWER PLATFORM)" userId="ca21fdc5-a129-4c69-bbf3-257923dd10d2" providerId="ADAL" clId="{3162E07E-6665-4E57-837A-7BD56144007F}" dt="2020-04-20T12:24:41.221" v="4144" actId="2165"/>
          <ac:graphicFrameMkLst>
            <pc:docMk/>
            <pc:sldMk cId="2860476999" sldId="2076137190"/>
            <ac:graphicFrameMk id="4" creationId="{0FF57792-0DC5-419E-9F50-EBA5DAD1FF8C}"/>
          </ac:graphicFrameMkLst>
        </pc:graphicFrameChg>
      </pc:sldChg>
      <pc:sldChg chg="addSp delSp modSp add mod ord">
        <pc:chgData name="Chris Huntingford (POWER PLATFORM)" userId="ca21fdc5-a129-4c69-bbf3-257923dd10d2" providerId="ADAL" clId="{3162E07E-6665-4E57-837A-7BD56144007F}" dt="2020-04-22T22:38:03.872" v="4323" actId="14100"/>
        <pc:sldMkLst>
          <pc:docMk/>
          <pc:sldMk cId="219004322" sldId="2076137191"/>
        </pc:sldMkLst>
        <pc:spChg chg="add mod">
          <ac:chgData name="Chris Huntingford (POWER PLATFORM)" userId="ca21fdc5-a129-4c69-bbf3-257923dd10d2" providerId="ADAL" clId="{3162E07E-6665-4E57-837A-7BD56144007F}" dt="2020-04-22T22:37:44.260" v="4318" actId="14100"/>
          <ac:spMkLst>
            <pc:docMk/>
            <pc:sldMk cId="219004322" sldId="2076137191"/>
            <ac:spMk id="4" creationId="{E5021D60-D852-4E38-A577-0185B6E77B28}"/>
          </ac:spMkLst>
        </pc:spChg>
        <pc:spChg chg="add mod">
          <ac:chgData name="Chris Huntingford (POWER PLATFORM)" userId="ca21fdc5-a129-4c69-bbf3-257923dd10d2" providerId="ADAL" clId="{3162E07E-6665-4E57-837A-7BD56144007F}" dt="2020-04-22T22:37:53.283" v="4320" actId="14100"/>
          <ac:spMkLst>
            <pc:docMk/>
            <pc:sldMk cId="219004322" sldId="2076137191"/>
            <ac:spMk id="5" creationId="{1D1726AB-F25C-4100-8199-5B7A7C853BF6}"/>
          </ac:spMkLst>
        </pc:spChg>
        <pc:spChg chg="add del mod">
          <ac:chgData name="Chris Huntingford (POWER PLATFORM)" userId="ca21fdc5-a129-4c69-bbf3-257923dd10d2" providerId="ADAL" clId="{3162E07E-6665-4E57-837A-7BD56144007F}" dt="2020-04-22T22:35:11.664" v="4317" actId="478"/>
          <ac:spMkLst>
            <pc:docMk/>
            <pc:sldMk cId="219004322" sldId="2076137191"/>
            <ac:spMk id="6" creationId="{55504CD8-D8C7-4D95-912D-DCF5D6B3E559}"/>
          </ac:spMkLst>
        </pc:spChg>
        <pc:spChg chg="add del mod">
          <ac:chgData name="Chris Huntingford (POWER PLATFORM)" userId="ca21fdc5-a129-4c69-bbf3-257923dd10d2" providerId="ADAL" clId="{3162E07E-6665-4E57-837A-7BD56144007F}" dt="2020-04-22T22:22:30.877" v="4295" actId="478"/>
          <ac:spMkLst>
            <pc:docMk/>
            <pc:sldMk cId="219004322" sldId="2076137191"/>
            <ac:spMk id="7" creationId="{4DB2DC91-2A13-4BFB-8825-82537E895F1C}"/>
          </ac:spMkLst>
        </pc:spChg>
        <pc:spChg chg="add del mod">
          <ac:chgData name="Chris Huntingford (POWER PLATFORM)" userId="ca21fdc5-a129-4c69-bbf3-257923dd10d2" providerId="ADAL" clId="{3162E07E-6665-4E57-837A-7BD56144007F}" dt="2020-04-22T22:33:02.964" v="4313" actId="478"/>
          <ac:spMkLst>
            <pc:docMk/>
            <pc:sldMk cId="219004322" sldId="2076137191"/>
            <ac:spMk id="12" creationId="{63E4094E-FE06-4981-A46C-61A56DB78BCF}"/>
          </ac:spMkLst>
        </pc:spChg>
        <pc:spChg chg="add del mod">
          <ac:chgData name="Chris Huntingford (POWER PLATFORM)" userId="ca21fdc5-a129-4c69-bbf3-257923dd10d2" providerId="ADAL" clId="{3162E07E-6665-4E57-837A-7BD56144007F}" dt="2020-04-22T22:33:08.914" v="4315" actId="478"/>
          <ac:spMkLst>
            <pc:docMk/>
            <pc:sldMk cId="219004322" sldId="2076137191"/>
            <ac:spMk id="16" creationId="{972C3696-A582-4BB2-8009-BC329B96F6B7}"/>
          </ac:spMkLst>
        </pc:spChg>
        <pc:spChg chg="add mod">
          <ac:chgData name="Chris Huntingford (POWER PLATFORM)" userId="ca21fdc5-a129-4c69-bbf3-257923dd10d2" providerId="ADAL" clId="{3162E07E-6665-4E57-837A-7BD56144007F}" dt="2020-04-22T22:38:03.872" v="4323" actId="14100"/>
          <ac:spMkLst>
            <pc:docMk/>
            <pc:sldMk cId="219004322" sldId="2076137191"/>
            <ac:spMk id="22" creationId="{D2285E00-FAF9-4410-A21A-1A51782BD2FE}"/>
          </ac:spMkLst>
        </pc:spChg>
      </pc:sldChg>
      <pc:sldMasterChg chg="add addSldLayout">
        <pc:chgData name="Chris Huntingford (POWER PLATFORM)" userId="ca21fdc5-a129-4c69-bbf3-257923dd10d2" providerId="ADAL" clId="{3162E07E-6665-4E57-837A-7BD56144007F}" dt="2020-04-15T13:04:56.435" v="1970" actId="22"/>
        <pc:sldMasterMkLst>
          <pc:docMk/>
          <pc:sldMasterMk cId="2958274844" sldId="2147483660"/>
        </pc:sldMasterMkLst>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562199305" sldId="2147483661"/>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778834518" sldId="2147483662"/>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151979974" sldId="2147483663"/>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065343235" sldId="2147483664"/>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271692239" sldId="2147483665"/>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511759418" sldId="2147483666"/>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747839649" sldId="2147483667"/>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520785589" sldId="2147483668"/>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3165389901" sldId="2147483669"/>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911277669" sldId="2147483670"/>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4000066968" sldId="2147483671"/>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333110100" sldId="2147483672"/>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3574744448" sldId="2147483673"/>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24475903" sldId="2147483674"/>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432560126" sldId="2147483675"/>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4021710493" sldId="2147483676"/>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295964351" sldId="2147483677"/>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1123262505" sldId="2147483678"/>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3310733327" sldId="2147483679"/>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681546837" sldId="2147483680"/>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360927636" sldId="2147483681"/>
          </pc:sldLayoutMkLst>
        </pc:sldLayoutChg>
        <pc:sldLayoutChg chg="add">
          <pc:chgData name="Chris Huntingford (POWER PLATFORM)" userId="ca21fdc5-a129-4c69-bbf3-257923dd10d2" providerId="ADAL" clId="{3162E07E-6665-4E57-837A-7BD56144007F}" dt="2020-04-15T13:04:56.435" v="1970" actId="22"/>
          <pc:sldLayoutMkLst>
            <pc:docMk/>
            <pc:sldMasterMk cId="2958274844" sldId="2147483660"/>
            <pc:sldLayoutMk cId="2488667014" sldId="2147483682"/>
          </pc:sldLayoutMkLst>
        </pc:sldLayoutChg>
      </pc:sldMasterChg>
      <pc:sldMasterChg chg="add addSldLayout">
        <pc:chgData name="Chris Huntingford (POWER PLATFORM)" userId="ca21fdc5-a129-4c69-bbf3-257923dd10d2" providerId="ADAL" clId="{3162E07E-6665-4E57-837A-7BD56144007F}" dt="2020-04-15T12:33:16.816" v="1149" actId="22"/>
        <pc:sldMasterMkLst>
          <pc:docMk/>
          <pc:sldMasterMk cId="1210884151" sldId="2147483724"/>
        </pc:sldMasterMkLst>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458150331" sldId="2147483725"/>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1426114048" sldId="2147483726"/>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55741854" sldId="2147483727"/>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742862101" sldId="2147483728"/>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780662016" sldId="2147483729"/>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3082661330" sldId="2147483730"/>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152941739" sldId="2147483731"/>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1061105981" sldId="2147483732"/>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2765187770" sldId="2147483733"/>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4098300915" sldId="2147483734"/>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616004199" sldId="2147483735"/>
          </pc:sldLayoutMkLst>
        </pc:sldLayoutChg>
        <pc:sldLayoutChg chg="add">
          <pc:chgData name="Chris Huntingford (POWER PLATFORM)" userId="ca21fdc5-a129-4c69-bbf3-257923dd10d2" providerId="ADAL" clId="{3162E07E-6665-4E57-837A-7BD56144007F}" dt="2020-04-15T12:33:16.816" v="1149" actId="22"/>
          <pc:sldLayoutMkLst>
            <pc:docMk/>
            <pc:sldMasterMk cId="1210884151" sldId="2147483724"/>
            <pc:sldLayoutMk cId="2002733286" sldId="2147483737"/>
          </pc:sldLayoutMkLst>
        </pc:sldLayoutChg>
      </pc:sldMasterChg>
      <pc:sldMasterChg chg="replId addSldLayout delSldLayout modSldLayout">
        <pc:chgData name="Chris Huntingford (POWER PLATFORM)" userId="ca21fdc5-a129-4c69-bbf3-257923dd10d2" providerId="ADAL" clId="{3162E07E-6665-4E57-837A-7BD56144007F}" dt="2020-04-15T13:04:56.435" v="1970" actId="22"/>
        <pc:sldMasterMkLst>
          <pc:docMk/>
          <pc:sldMasterMk cId="721142641" sldId="2147483776"/>
        </pc:sldMasterMkLst>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3084891249" sldId="2147483765"/>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134880846" sldId="2147483770"/>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4169557048" sldId="2147483771"/>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2392641623" sldId="2147483772"/>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1342743764" sldId="2147483773"/>
          </pc:sldLayoutMkLst>
        </pc:sldLayoutChg>
        <pc:sldLayoutChg chg="add del">
          <pc:chgData name="Chris Huntingford (POWER PLATFORM)" userId="ca21fdc5-a129-4c69-bbf3-257923dd10d2" providerId="ADAL" clId="{3162E07E-6665-4E57-837A-7BD56144007F}" dt="2020-04-15T13:04:56.435" v="1970" actId="22"/>
          <pc:sldLayoutMkLst>
            <pc:docMk/>
            <pc:sldMasterMk cId="721142641" sldId="2147483776"/>
            <pc:sldLayoutMk cId="715025658" sldId="2147483774"/>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945583879" sldId="2147483777"/>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401199200" sldId="2147483778"/>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3536235465" sldId="2147483779"/>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2257687221" sldId="2147483780"/>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3602858643" sldId="2147483781"/>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88532915" sldId="2147483782"/>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243514223" sldId="2147483783"/>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3262477973" sldId="2147483784"/>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2193536632" sldId="2147483785"/>
          </pc:sldLayoutMkLst>
        </pc:sldLayoutChg>
        <pc:sldLayoutChg chg="replId">
          <pc:chgData name="Chris Huntingford (POWER PLATFORM)" userId="ca21fdc5-a129-4c69-bbf3-257923dd10d2" providerId="ADAL" clId="{3162E07E-6665-4E57-837A-7BD56144007F}" dt="2020-04-15T12:33:16.816" v="1149" actId="22"/>
          <pc:sldLayoutMkLst>
            <pc:docMk/>
            <pc:sldMasterMk cId="721142641" sldId="2147483776"/>
            <pc:sldLayoutMk cId="1587337342" sldId="2147483786"/>
          </pc:sldLayoutMkLst>
        </pc:sldLayoutChg>
      </pc:sldMasterChg>
      <pc:sldMasterChg chg="add addSldLayout">
        <pc:chgData name="Chris Huntingford (POWER PLATFORM)" userId="ca21fdc5-a129-4c69-bbf3-257923dd10d2" providerId="ADAL" clId="{3162E07E-6665-4E57-837A-7BD56144007F}" dt="2020-04-15T12:44:21.765" v="1941" actId="22"/>
        <pc:sldMasterMkLst>
          <pc:docMk/>
          <pc:sldMasterMk cId="3384628062" sldId="2147483959"/>
        </pc:sldMasterMkLst>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390466621" sldId="2147483960"/>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108568790" sldId="2147483961"/>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4191957507" sldId="2147483962"/>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729855282" sldId="2147483963"/>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2001959955" sldId="2147483964"/>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2017130209" sldId="2147483965"/>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33436444" sldId="2147483966"/>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368858796" sldId="2147483967"/>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178228284" sldId="2147483968"/>
          </pc:sldLayoutMkLst>
        </pc:sldLayoutChg>
        <pc:sldLayoutChg chg="add">
          <pc:chgData name="Chris Huntingford (POWER PLATFORM)" userId="ca21fdc5-a129-4c69-bbf3-257923dd10d2" providerId="ADAL" clId="{3162E07E-6665-4E57-837A-7BD56144007F}" dt="2020-04-15T12:44:21.765" v="1941" actId="22"/>
          <pc:sldLayoutMkLst>
            <pc:docMk/>
            <pc:sldMasterMk cId="3384628062" sldId="2147483959"/>
            <pc:sldLayoutMk cId="1271399808" sldId="2147483969"/>
          </pc:sldLayoutMkLst>
        </pc:sldLayoutChg>
      </pc:sldMasterChg>
      <pc:sldMasterChg chg="add addSldLayout">
        <pc:chgData name="Chris Huntingford (POWER PLATFORM)" userId="ca21fdc5-a129-4c69-bbf3-257923dd10d2" providerId="ADAL" clId="{3162E07E-6665-4E57-837A-7BD56144007F}" dt="2020-04-15T12:53:49.648" v="1961" actId="22"/>
        <pc:sldMasterMkLst>
          <pc:docMk/>
          <pc:sldMasterMk cId="3124015234" sldId="2147484194"/>
        </pc:sldMasterMkLst>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985792395" sldId="214748390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209039124" sldId="2147483908"/>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4266964529" sldId="2147483909"/>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804508819" sldId="2147483910"/>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229908796" sldId="2147483911"/>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205964449" sldId="2147483912"/>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4051894477" sldId="2147483913"/>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031653028" sldId="2147483914"/>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912039852" sldId="214748391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770839486" sldId="2147483916"/>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955365381" sldId="2147483917"/>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27050507" sldId="2147483918"/>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293099720" sldId="2147483919"/>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486313986" sldId="2147483920"/>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612465948" sldId="2147483921"/>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636731241" sldId="2147483922"/>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924522531" sldId="2147483923"/>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598335746" sldId="2147483924"/>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228444814" sldId="214748392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186065898" sldId="2147483926"/>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795672123" sldId="2147483927"/>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742335355" sldId="2147483928"/>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683226965" sldId="2147483929"/>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3612415502" sldId="2147483930"/>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556339979" sldId="2147483931"/>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535564867" sldId="2147483932"/>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300283922" sldId="2147484195"/>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1375262968" sldId="2147484196"/>
          </pc:sldLayoutMkLst>
        </pc:sldLayoutChg>
        <pc:sldLayoutChg chg="add">
          <pc:chgData name="Chris Huntingford (POWER PLATFORM)" userId="ca21fdc5-a129-4c69-bbf3-257923dd10d2" providerId="ADAL" clId="{3162E07E-6665-4E57-837A-7BD56144007F}" dt="2020-04-15T12:53:49.648" v="1961" actId="22"/>
          <pc:sldLayoutMkLst>
            <pc:docMk/>
            <pc:sldMasterMk cId="3124015234" sldId="2147484194"/>
            <pc:sldLayoutMk cId="2329775366" sldId="2147484197"/>
          </pc:sldLayoutMkLst>
        </pc:sldLayoutChg>
      </pc:sldMasterChg>
      <pc:sldMasterChg chg="add addSldLayout">
        <pc:chgData name="Chris Huntingford (POWER PLATFORM)" userId="ca21fdc5-a129-4c69-bbf3-257923dd10d2" providerId="ADAL" clId="{3162E07E-6665-4E57-837A-7BD56144007F}" dt="2020-04-15T12:44:21.765" v="1941" actId="22"/>
        <pc:sldMasterMkLst>
          <pc:docMk/>
          <pc:sldMasterMk cId="20754970" sldId="2147484245"/>
        </pc:sldMasterMkLst>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180688595" sldId="2147484246"/>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3543253905" sldId="2147484247"/>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009190808" sldId="2147484248"/>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469412457" sldId="2147484249"/>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936363459" sldId="2147484250"/>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142615589" sldId="2147484251"/>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779235514" sldId="2147484252"/>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397098888" sldId="2147484253"/>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553584570" sldId="2147484254"/>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607340046" sldId="2147484255"/>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3563368300" sldId="2147484256"/>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436500087" sldId="2147484257"/>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1073067599" sldId="2147484258"/>
          </pc:sldLayoutMkLst>
        </pc:sldLayoutChg>
        <pc:sldLayoutChg chg="add">
          <pc:chgData name="Chris Huntingford (POWER PLATFORM)" userId="ca21fdc5-a129-4c69-bbf3-257923dd10d2" providerId="ADAL" clId="{3162E07E-6665-4E57-837A-7BD56144007F}" dt="2020-04-15T12:44:21.765" v="1941" actId="22"/>
          <pc:sldLayoutMkLst>
            <pc:docMk/>
            <pc:sldMasterMk cId="20754970" sldId="2147484245"/>
            <pc:sldLayoutMk cId="2384188709" sldId="2147484259"/>
          </pc:sldLayoutMkLst>
        </pc:sldLayoutChg>
      </pc:sldMasterChg>
      <pc:sldMasterChg chg="add replId addSldLayout modSldLayout">
        <pc:chgData name="Chris Huntingford (POWER PLATFORM)" userId="ca21fdc5-a129-4c69-bbf3-257923dd10d2" providerId="ADAL" clId="{3162E07E-6665-4E57-837A-7BD56144007F}" dt="2020-04-15T12:53:49.648" v="1961" actId="22"/>
        <pc:sldMasterMkLst>
          <pc:docMk/>
          <pc:sldMasterMk cId="2576730912" sldId="2147484260"/>
        </pc:sldMasterMkLst>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227275867" sldId="2147484261"/>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2351929641" sldId="2147484262"/>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181235323" sldId="2147484263"/>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2301940595" sldId="2147484264"/>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778314100" sldId="2147484265"/>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74272924" sldId="2147484266"/>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577693092" sldId="2147484267"/>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4221507186" sldId="2147484268"/>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394561522" sldId="2147484269"/>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2252077734" sldId="2147484270"/>
          </pc:sldLayoutMkLst>
        </pc:sldLayoutChg>
        <pc:sldLayoutChg chg="add replId">
          <pc:chgData name="Chris Huntingford (POWER PLATFORM)" userId="ca21fdc5-a129-4c69-bbf3-257923dd10d2" providerId="ADAL" clId="{3162E07E-6665-4E57-837A-7BD56144007F}" dt="2020-04-15T12:53:49.648" v="1961" actId="22"/>
          <pc:sldLayoutMkLst>
            <pc:docMk/>
            <pc:sldMasterMk cId="2576730912" sldId="2147484260"/>
            <pc:sldLayoutMk cId="1765710022" sldId="214748427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15788944650101E-2"/>
          <c:y val="4.22721209537412E-2"/>
          <c:w val="0.88908670074834595"/>
          <c:h val="0.91022721819764896"/>
        </c:manualLayout>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2F98-4EDC-A358-B730DD79FE37}"/>
              </c:ext>
            </c:extLst>
          </c:dPt>
          <c:dPt>
            <c:idx val="1"/>
            <c:bubble3D val="0"/>
            <c:spPr>
              <a:solidFill>
                <a:schemeClr val="accent2"/>
              </a:solidFill>
              <a:ln w="19050">
                <a:noFill/>
              </a:ln>
              <a:effectLst/>
            </c:spPr>
            <c:extLst>
              <c:ext xmlns:c16="http://schemas.microsoft.com/office/drawing/2014/chart" uri="{C3380CC4-5D6E-409C-BE32-E72D297353CC}">
                <c16:uniqueId val="{00000003-2F98-4EDC-A358-B730DD79FE37}"/>
              </c:ext>
            </c:extLst>
          </c:dPt>
          <c:dPt>
            <c:idx val="2"/>
            <c:bubble3D val="0"/>
            <c:spPr>
              <a:solidFill>
                <a:schemeClr val="accent3"/>
              </a:solidFill>
              <a:ln w="19050">
                <a:noFill/>
              </a:ln>
              <a:effectLst/>
            </c:spPr>
            <c:extLst>
              <c:ext xmlns:c16="http://schemas.microsoft.com/office/drawing/2014/chart" uri="{C3380CC4-5D6E-409C-BE32-E72D297353CC}">
                <c16:uniqueId val="{00000005-2F98-4EDC-A358-B730DD79FE37}"/>
              </c:ext>
            </c:extLst>
          </c:dPt>
          <c:dPt>
            <c:idx val="3"/>
            <c:bubble3D val="0"/>
            <c:spPr>
              <a:solidFill>
                <a:schemeClr val="accent5"/>
              </a:solidFill>
              <a:ln w="19050">
                <a:noFill/>
              </a:ln>
              <a:effectLst/>
            </c:spPr>
            <c:extLst>
              <c:ext xmlns:c16="http://schemas.microsoft.com/office/drawing/2014/chart" uri="{C3380CC4-5D6E-409C-BE32-E72D297353CC}">
                <c16:uniqueId val="{00000007-2F98-4EDC-A358-B730DD79FE37}"/>
              </c:ext>
            </c:extLst>
          </c:dPt>
          <c:dPt>
            <c:idx val="4"/>
            <c:bubble3D val="0"/>
            <c:spPr>
              <a:solidFill>
                <a:schemeClr val="accent1"/>
              </a:solidFill>
              <a:ln w="19050">
                <a:noFill/>
              </a:ln>
              <a:effectLst/>
            </c:spPr>
            <c:extLst>
              <c:ext xmlns:c16="http://schemas.microsoft.com/office/drawing/2014/chart" uri="{C3380CC4-5D6E-409C-BE32-E72D297353CC}">
                <c16:uniqueId val="{00000009-2F98-4EDC-A358-B730DD79FE37}"/>
              </c:ext>
            </c:extLst>
          </c:dPt>
          <c:dLbls>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2F98-4EDC-A358-B730DD79FE37}"/>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6</c:f>
              <c:numCache>
                <c:formatCode>General</c:formatCode>
                <c:ptCount val="5"/>
                <c:pt idx="0">
                  <c:v>1</c:v>
                </c:pt>
                <c:pt idx="1">
                  <c:v>2</c:v>
                </c:pt>
                <c:pt idx="2">
                  <c:v>3</c:v>
                </c:pt>
                <c:pt idx="3">
                  <c:v>4</c:v>
                </c:pt>
                <c:pt idx="4">
                  <c:v>5</c:v>
                </c:pt>
              </c:numCache>
            </c:numRef>
          </c:cat>
          <c:val>
            <c:numRef>
              <c:f>Sheet1!$B$2:$B$6</c:f>
              <c:numCache>
                <c:formatCode>General</c:formatCode>
                <c:ptCount val="5"/>
                <c:pt idx="0">
                  <c:v>24</c:v>
                </c:pt>
                <c:pt idx="1">
                  <c:v>18</c:v>
                </c:pt>
                <c:pt idx="2">
                  <c:v>15</c:v>
                </c:pt>
                <c:pt idx="3">
                  <c:v>10</c:v>
                </c:pt>
                <c:pt idx="4">
                  <c:v>9</c:v>
                </c:pt>
              </c:numCache>
            </c:numRef>
          </c:val>
          <c:extLst>
            <c:ext xmlns:c16="http://schemas.microsoft.com/office/drawing/2014/chart" uri="{C3380CC4-5D6E-409C-BE32-E72D297353CC}">
              <c16:uniqueId val="{0000000A-2F98-4EDC-A358-B730DD79FE37}"/>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001256853247104E-2"/>
          <c:y val="6.21752445694609E-2"/>
          <c:w val="0.86703498128307699"/>
          <c:h val="0.84273633763109201"/>
        </c:manualLayout>
      </c:layout>
      <c:barChart>
        <c:barDir val="col"/>
        <c:grouping val="stacked"/>
        <c:varyColors val="0"/>
        <c:ser>
          <c:idx val="0"/>
          <c:order val="0"/>
          <c:tx>
            <c:strRef>
              <c:f>Sheet1!$B$1</c:f>
              <c:strCache>
                <c:ptCount val="1"/>
                <c:pt idx="0">
                  <c:v>Series 1</c:v>
                </c:pt>
              </c:strCache>
            </c:strRef>
          </c:tx>
          <c:spPr>
            <a:solidFill>
              <a:schemeClr val="accent3"/>
            </a:solidFill>
            <a:ln>
              <a:noFill/>
            </a:ln>
            <a:effectLst/>
          </c:spPr>
          <c:invertIfNegative val="0"/>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B$2:$B$8</c:f>
              <c:numCache>
                <c:formatCode>General</c:formatCode>
                <c:ptCount val="7"/>
                <c:pt idx="0">
                  <c:v>10</c:v>
                </c:pt>
                <c:pt idx="1">
                  <c:v>14</c:v>
                </c:pt>
                <c:pt idx="2">
                  <c:v>18</c:v>
                </c:pt>
                <c:pt idx="3">
                  <c:v>21</c:v>
                </c:pt>
                <c:pt idx="4">
                  <c:v>22</c:v>
                </c:pt>
                <c:pt idx="5">
                  <c:v>17</c:v>
                </c:pt>
                <c:pt idx="6">
                  <c:v>14</c:v>
                </c:pt>
              </c:numCache>
            </c:numRef>
          </c:val>
          <c:extLst>
            <c:ext xmlns:c16="http://schemas.microsoft.com/office/drawing/2014/chart" uri="{C3380CC4-5D6E-409C-BE32-E72D297353CC}">
              <c16:uniqueId val="{00000000-C638-4F3D-94C5-216D1F47C64F}"/>
            </c:ext>
          </c:extLst>
        </c:ser>
        <c:ser>
          <c:idx val="1"/>
          <c:order val="1"/>
          <c:tx>
            <c:strRef>
              <c:f>Sheet1!$C$1</c:f>
              <c:strCache>
                <c:ptCount val="1"/>
                <c:pt idx="0">
                  <c:v>Series 2</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2-C638-4F3D-94C5-216D1F47C64F}"/>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4-C638-4F3D-94C5-216D1F47C64F}"/>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6-C638-4F3D-94C5-216D1F47C64F}"/>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8-C638-4F3D-94C5-216D1F47C64F}"/>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A-C638-4F3D-94C5-216D1F47C64F}"/>
              </c:ext>
            </c:extLst>
          </c:dPt>
          <c:dPt>
            <c:idx val="5"/>
            <c:invertIfNegative val="0"/>
            <c:bubble3D val="0"/>
            <c:spPr>
              <a:solidFill>
                <a:schemeClr val="accent5"/>
              </a:solidFill>
              <a:ln>
                <a:noFill/>
              </a:ln>
              <a:effectLst/>
            </c:spPr>
            <c:extLst>
              <c:ext xmlns:c16="http://schemas.microsoft.com/office/drawing/2014/chart" uri="{C3380CC4-5D6E-409C-BE32-E72D297353CC}">
                <c16:uniqueId val="{0000000C-C638-4F3D-94C5-216D1F47C64F}"/>
              </c:ext>
            </c:extLst>
          </c:dPt>
          <c:dPt>
            <c:idx val="6"/>
            <c:invertIfNegative val="0"/>
            <c:bubble3D val="0"/>
            <c:spPr>
              <a:solidFill>
                <a:schemeClr val="accent5"/>
              </a:solidFill>
              <a:ln>
                <a:noFill/>
              </a:ln>
              <a:effectLst/>
            </c:spPr>
            <c:extLst>
              <c:ext xmlns:c16="http://schemas.microsoft.com/office/drawing/2014/chart" uri="{C3380CC4-5D6E-409C-BE32-E72D297353CC}">
                <c16:uniqueId val="{0000000E-C638-4F3D-94C5-216D1F47C64F}"/>
              </c:ext>
            </c:extLst>
          </c:dPt>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C$2:$C$8</c:f>
              <c:numCache>
                <c:formatCode>General</c:formatCode>
                <c:ptCount val="7"/>
                <c:pt idx="0">
                  <c:v>22</c:v>
                </c:pt>
                <c:pt idx="1">
                  <c:v>32</c:v>
                </c:pt>
                <c:pt idx="2">
                  <c:v>55</c:v>
                </c:pt>
                <c:pt idx="3">
                  <c:v>55</c:v>
                </c:pt>
                <c:pt idx="4">
                  <c:v>41</c:v>
                </c:pt>
                <c:pt idx="5">
                  <c:v>38</c:v>
                </c:pt>
                <c:pt idx="6">
                  <c:v>48</c:v>
                </c:pt>
              </c:numCache>
            </c:numRef>
          </c:val>
          <c:extLst>
            <c:ext xmlns:c16="http://schemas.microsoft.com/office/drawing/2014/chart" uri="{C3380CC4-5D6E-409C-BE32-E72D297353CC}">
              <c16:uniqueId val="{0000000F-C638-4F3D-94C5-216D1F47C64F}"/>
            </c:ext>
          </c:extLst>
        </c:ser>
        <c:dLbls>
          <c:showLegendKey val="0"/>
          <c:showVal val="0"/>
          <c:showCatName val="0"/>
          <c:showSerName val="0"/>
          <c:showPercent val="0"/>
          <c:showBubbleSize val="0"/>
        </c:dLbls>
        <c:gapWidth val="119"/>
        <c:overlap val="100"/>
        <c:axId val="1736809728"/>
        <c:axId val="1729890768"/>
      </c:barChart>
      <c:catAx>
        <c:axId val="1736809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29890768"/>
        <c:crosses val="autoZero"/>
        <c:auto val="1"/>
        <c:lblAlgn val="ctr"/>
        <c:lblOffset val="100"/>
        <c:noMultiLvlLbl val="0"/>
      </c:catAx>
      <c:valAx>
        <c:axId val="17298907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36809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93175853018394E-2"/>
          <c:y val="6.21752445694609E-2"/>
          <c:w val="0.86760613686175803"/>
          <c:h val="0.89678557133794901"/>
        </c:manualLayout>
      </c:layout>
      <c:areaChart>
        <c:grouping val="stacked"/>
        <c:varyColors val="0"/>
        <c:ser>
          <c:idx val="0"/>
          <c:order val="0"/>
          <c:tx>
            <c:strRef>
              <c:f>Sheet1!$B$1</c:f>
              <c:strCache>
                <c:ptCount val="1"/>
                <c:pt idx="0">
                  <c:v>Series 1</c:v>
                </c:pt>
              </c:strCache>
            </c:strRef>
          </c:tx>
          <c:spPr>
            <a:solidFill>
              <a:schemeClr val="accent4"/>
            </a:solidFill>
            <a:ln>
              <a:noFill/>
            </a:ln>
            <a:effectLst/>
          </c:spP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101-45A1-BF3E-132BCF5B7222}"/>
            </c:ext>
          </c:extLst>
        </c:ser>
        <c:ser>
          <c:idx val="1"/>
          <c:order val="1"/>
          <c:tx>
            <c:strRef>
              <c:f>Sheet1!$C$1</c:f>
              <c:strCache>
                <c:ptCount val="1"/>
                <c:pt idx="0">
                  <c:v>Series 2</c:v>
                </c:pt>
              </c:strCache>
            </c:strRef>
          </c:tx>
          <c:spPr>
            <a:solidFill>
              <a:schemeClr val="accent3"/>
            </a:solidFill>
            <a:ln>
              <a:noFill/>
            </a:ln>
            <a:effectLst/>
          </c:spP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101-45A1-BF3E-132BCF5B7222}"/>
            </c:ext>
          </c:extLst>
        </c:ser>
        <c:ser>
          <c:idx val="2"/>
          <c:order val="2"/>
          <c:tx>
            <c:strRef>
              <c:f>Sheet1!$D$1</c:f>
              <c:strCache>
                <c:ptCount val="1"/>
                <c:pt idx="0">
                  <c:v>Series 3</c:v>
                </c:pt>
              </c:strCache>
            </c:strRef>
          </c:tx>
          <c:spPr>
            <a:solidFill>
              <a:schemeClr val="accent5"/>
            </a:solidFill>
            <a:ln w="25400">
              <a:noFill/>
            </a:ln>
            <a:effectLst/>
          </c:spP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101-45A1-BF3E-132BCF5B7222}"/>
            </c:ext>
          </c:extLst>
        </c:ser>
        <c:dLbls>
          <c:showLegendKey val="0"/>
          <c:showVal val="0"/>
          <c:showCatName val="0"/>
          <c:showSerName val="0"/>
          <c:showPercent val="0"/>
          <c:showBubbleSize val="0"/>
        </c:dLbls>
        <c:axId val="1788023776"/>
        <c:axId val="1743754560"/>
      </c:areaChart>
      <c:catAx>
        <c:axId val="1788023776"/>
        <c:scaling>
          <c:orientation val="minMax"/>
        </c:scaling>
        <c:delete val="1"/>
        <c:axPos val="b"/>
        <c:numFmt formatCode="General" sourceLinked="1"/>
        <c:majorTickMark val="out"/>
        <c:minorTickMark val="none"/>
        <c:tickLblPos val="nextTo"/>
        <c:crossAx val="1743754560"/>
        <c:crosses val="autoZero"/>
        <c:auto val="1"/>
        <c:lblAlgn val="ctr"/>
        <c:lblOffset val="100"/>
        <c:noMultiLvlLbl val="0"/>
      </c:catAx>
      <c:valAx>
        <c:axId val="1743754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1788023776"/>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43FAA1-3AEA-4C48-B42B-0C927C56C3F2}" type="datetimeFigureOut">
              <a:rPr lang="en-GB" smtClean="0"/>
              <a:t>08/1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7D3DFE-DBFA-4407-B9C1-015B282949A4}" type="slidenum">
              <a:rPr lang="en-GB" smtClean="0"/>
              <a:t>‹#›</a:t>
            </a:fld>
            <a:endParaRPr lang="en-GB"/>
          </a:p>
        </p:txBody>
      </p:sp>
    </p:spTree>
    <p:extLst>
      <p:ext uri="{BB962C8B-B14F-4D97-AF65-F5344CB8AC3E}">
        <p14:creationId xmlns:p14="http://schemas.microsoft.com/office/powerpoint/2010/main" val="1629279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eweek.com/mobile/slideshows/why-the-enterprise-mobile-app-development-market-is-about-to-explode.htm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Hack@Speed</a:t>
            </a:r>
            <a:r>
              <a:rPr lang="en-GB" dirty="0"/>
              <a:t> originally came from various sessions done within the Power Platform Community. The content and use cases come directly from live demo builds done over a number of community and customer events. These have been consolidated into “</a:t>
            </a:r>
            <a:r>
              <a:rPr lang="en-GB" dirty="0" err="1"/>
              <a:t>HackPacks</a:t>
            </a:r>
            <a:r>
              <a:rPr lang="en-GB" dirty="0"/>
              <a:t>” which can be leveraged by anyone building solutions within the </a:t>
            </a:r>
            <a:r>
              <a:rPr lang="en-GB" dirty="0" err="1"/>
              <a:t>Hack@Speed</a:t>
            </a:r>
            <a:r>
              <a:rPr lang="en-GB" dirty="0"/>
              <a:t> event and outside of this for demonstration purposes.</a:t>
            </a:r>
          </a:p>
        </p:txBody>
      </p:sp>
      <p:sp>
        <p:nvSpPr>
          <p:cNvPr id="4" name="Slide Number Placeholder 3"/>
          <p:cNvSpPr>
            <a:spLocks noGrp="1"/>
          </p:cNvSpPr>
          <p:nvPr>
            <p:ph type="sldNum" sz="quarter" idx="5"/>
          </p:nvPr>
        </p:nvSpPr>
        <p:spPr/>
        <p:txBody>
          <a:bodyPr/>
          <a:lstStyle/>
          <a:p>
            <a:fld id="{D07D3DFE-DBFA-4407-B9C1-015B282949A4}" type="slidenum">
              <a:rPr lang="en-GB" smtClean="0"/>
              <a:t>8</a:t>
            </a:fld>
            <a:endParaRPr lang="en-GB"/>
          </a:p>
        </p:txBody>
      </p:sp>
    </p:spTree>
    <p:extLst>
      <p:ext uri="{BB962C8B-B14F-4D97-AF65-F5344CB8AC3E}">
        <p14:creationId xmlns:p14="http://schemas.microsoft.com/office/powerpoint/2010/main" val="2702284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6963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u="sng" dirty="0"/>
              <a:t>Lab Style Hack</a:t>
            </a:r>
          </a:p>
          <a:p>
            <a:pPr marL="0" indent="0">
              <a:buNone/>
            </a:pPr>
            <a:r>
              <a:rPr lang="en-GB" sz="1200" dirty="0"/>
              <a:t>Follow the “Power Platform </a:t>
            </a:r>
            <a:r>
              <a:rPr lang="en-GB" sz="1200" dirty="0" err="1"/>
              <a:t>Hack@Speed</a:t>
            </a:r>
            <a:r>
              <a:rPr lang="en-GB" sz="1200" dirty="0"/>
              <a:t> PDF focusing on the Prospects data. Complete all of the labs following the instructions as they are. If you can, step outside the lines a bit and be creative if possible.</a:t>
            </a:r>
          </a:p>
          <a:p>
            <a:pPr marL="0" indent="0">
              <a:buNone/>
            </a:pPr>
            <a:r>
              <a:rPr lang="en-GB" sz="1200" b="1" u="sng" dirty="0"/>
              <a:t>Get Creative</a:t>
            </a:r>
          </a:p>
          <a:p>
            <a:pPr marL="0" indent="0">
              <a:buNone/>
            </a:pPr>
            <a:r>
              <a:rPr lang="en-GB" sz="1200" b="0" u="none" dirty="0"/>
              <a:t>The Hack Packs contain data that is very similar in type. You can use the </a:t>
            </a:r>
            <a:r>
              <a:rPr lang="en-GB" sz="1200" b="0" u="none" dirty="0" err="1"/>
              <a:t>Hack@Speed</a:t>
            </a:r>
            <a:r>
              <a:rPr lang="en-GB" sz="1200" b="0" u="none" dirty="0"/>
              <a:t> PDF as a guide and leverage the data from the various hack packs. You will need to use your interpretation skills here as not everything will be click for click replicated in the manual.</a:t>
            </a:r>
          </a:p>
          <a:p>
            <a:pPr marL="0" indent="0">
              <a:buNone/>
            </a:pPr>
            <a:r>
              <a:rPr lang="en-GB" sz="1200" b="1" u="sng" dirty="0"/>
              <a:t>Double or Nothing</a:t>
            </a:r>
          </a:p>
          <a:p>
            <a:pPr marL="0" indent="0">
              <a:buNone/>
            </a:pPr>
            <a:r>
              <a:rPr lang="en-GB" sz="1200" dirty="0"/>
              <a:t>Couple up and split the work. Decide on the use case (Run the Lab, Use the hack packs or bring your own data) and build something amazing.</a:t>
            </a:r>
          </a:p>
          <a:p>
            <a:pPr marL="0" indent="0">
              <a:buNone/>
            </a:pPr>
            <a:r>
              <a:rPr lang="en-GB" sz="1200" b="1" u="sng" dirty="0"/>
              <a:t>Dream Team</a:t>
            </a:r>
          </a:p>
          <a:p>
            <a:pPr marL="0" indent="0">
              <a:buNone/>
            </a:pPr>
            <a:r>
              <a:rPr lang="en-GB" sz="1200" dirty="0"/>
              <a:t>Get a team together, decide on the way you want to hack and build something AMAZING using your own data or the data from the Hack Packs.</a:t>
            </a:r>
          </a:p>
          <a:p>
            <a:endParaRPr lang="en-GB" b="1" dirty="0"/>
          </a:p>
        </p:txBody>
      </p:sp>
      <p:sp>
        <p:nvSpPr>
          <p:cNvPr id="4" name="Slide Number Placeholder 3"/>
          <p:cNvSpPr>
            <a:spLocks noGrp="1"/>
          </p:cNvSpPr>
          <p:nvPr>
            <p:ph type="sldNum" sz="quarter" idx="5"/>
          </p:nvPr>
        </p:nvSpPr>
        <p:spPr/>
        <p:txBody>
          <a:bodyPr/>
          <a:lstStyle/>
          <a:p>
            <a:fld id="{D07D3DFE-DBFA-4407-B9C1-015B282949A4}" type="slidenum">
              <a:rPr lang="en-GB" smtClean="0"/>
              <a:t>35</a:t>
            </a:fld>
            <a:endParaRPr lang="en-GB"/>
          </a:p>
        </p:txBody>
      </p:sp>
    </p:spTree>
    <p:extLst>
      <p:ext uri="{BB962C8B-B14F-4D97-AF65-F5344CB8AC3E}">
        <p14:creationId xmlns:p14="http://schemas.microsoft.com/office/powerpoint/2010/main" val="3289648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42</a:t>
            </a:fld>
            <a:endParaRPr lang="en-GB"/>
          </a:p>
        </p:txBody>
      </p:sp>
    </p:spTree>
    <p:extLst>
      <p:ext uri="{BB962C8B-B14F-4D97-AF65-F5344CB8AC3E}">
        <p14:creationId xmlns:p14="http://schemas.microsoft.com/office/powerpoint/2010/main" val="18681687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44</a:t>
            </a:fld>
            <a:endParaRPr lang="en-GB"/>
          </a:p>
        </p:txBody>
      </p:sp>
    </p:spTree>
    <p:extLst>
      <p:ext uri="{BB962C8B-B14F-4D97-AF65-F5344CB8AC3E}">
        <p14:creationId xmlns:p14="http://schemas.microsoft.com/office/powerpoint/2010/main" val="12735328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48</a:t>
            </a:fld>
            <a:endParaRPr lang="en-GB"/>
          </a:p>
        </p:txBody>
      </p:sp>
    </p:spTree>
    <p:extLst>
      <p:ext uri="{BB962C8B-B14F-4D97-AF65-F5344CB8AC3E}">
        <p14:creationId xmlns:p14="http://schemas.microsoft.com/office/powerpoint/2010/main" val="18681687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07D3DFE-DBFA-4407-B9C1-015B282949A4}" type="slidenum">
              <a:rPr lang="en-GB" smtClean="0"/>
              <a:t>49</a:t>
            </a:fld>
            <a:endParaRPr lang="en-GB"/>
          </a:p>
        </p:txBody>
      </p:sp>
    </p:spTree>
    <p:extLst>
      <p:ext uri="{BB962C8B-B14F-4D97-AF65-F5344CB8AC3E}">
        <p14:creationId xmlns:p14="http://schemas.microsoft.com/office/powerpoint/2010/main" val="3281351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It’s a massive market opportunity, currently circa 32bn will grow to 206bn by 2023. </a:t>
            </a:r>
          </a:p>
          <a:p>
            <a:r>
              <a:rPr lang="en-GB" sz="1200" kern="1200">
                <a:solidFill>
                  <a:schemeClr val="tx1"/>
                </a:solidFill>
                <a:effectLst/>
                <a:latin typeface="+mn-lt"/>
                <a:ea typeface="+mn-ea"/>
                <a:cs typeface="+mn-cs"/>
              </a:rPr>
              <a:t>Gartner predicts by 2024 65% of apps will be built with low code tools. </a:t>
            </a:r>
          </a:p>
          <a:p>
            <a:r>
              <a:rPr lang="en-GB" sz="1200" kern="1200">
                <a:solidFill>
                  <a:schemeClr val="tx1"/>
                </a:solidFill>
                <a:effectLst/>
                <a:latin typeface="+mn-lt"/>
                <a:ea typeface="+mn-ea"/>
                <a:cs typeface="+mn-cs"/>
              </a:rPr>
              <a:t>Our own ambition is to build two 2bn dollar businesses for Power Apps  and Power automate respectively. </a:t>
            </a:r>
          </a:p>
          <a:p>
            <a:r>
              <a:rPr lang="en-GB" sz="1200" kern="1200">
                <a:solidFill>
                  <a:schemeClr val="tx1"/>
                </a:solidFill>
                <a:effectLst/>
                <a:latin typeface="+mn-lt"/>
                <a:ea typeface="+mn-ea"/>
                <a:cs typeface="+mn-cs"/>
              </a:rPr>
              <a:t>Great ambition but for context SFDCs platform business was 3.9bn in their Q3. </a:t>
            </a:r>
          </a:p>
          <a:p>
            <a:r>
              <a:rPr lang="en-GB" sz="1200" kern="1200">
                <a:solidFill>
                  <a:schemeClr val="tx1"/>
                </a:solidFill>
                <a:effectLst/>
                <a:latin typeface="+mn-lt"/>
                <a:ea typeface="+mn-ea"/>
                <a:cs typeface="+mn-cs"/>
              </a:rPr>
              <a:t> </a:t>
            </a:r>
          </a:p>
          <a:p>
            <a:r>
              <a:rPr lang="en-GB" sz="1200" b="1" u="sng" kern="1200">
                <a:solidFill>
                  <a:schemeClr val="tx1"/>
                </a:solidFill>
                <a:effectLst/>
                <a:latin typeface="+mn-lt"/>
                <a:ea typeface="+mn-ea"/>
                <a:cs typeface="+mn-cs"/>
              </a:rPr>
              <a:t>Next bullet </a:t>
            </a: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We have some amazing key differentiators</a:t>
            </a:r>
          </a:p>
          <a:p>
            <a:r>
              <a:rPr lang="en-GB" sz="1200" kern="1200">
                <a:solidFill>
                  <a:schemeClr val="tx1"/>
                </a:solidFill>
                <a:effectLst/>
                <a:latin typeface="+mn-lt"/>
                <a:ea typeface="+mn-ea"/>
                <a:cs typeface="+mn-cs"/>
              </a:rPr>
              <a:t>Our pace of product innovation is staggering </a:t>
            </a:r>
          </a:p>
          <a:p>
            <a:r>
              <a:rPr lang="en-GB" sz="1200" kern="1200">
                <a:solidFill>
                  <a:schemeClr val="tx1"/>
                </a:solidFill>
                <a:effectLst/>
                <a:latin typeface="+mn-lt"/>
                <a:ea typeface="+mn-ea"/>
                <a:cs typeface="+mn-cs"/>
              </a:rPr>
              <a:t>We have doubled the number of engineers </a:t>
            </a:r>
          </a:p>
          <a:p>
            <a:r>
              <a:rPr lang="en-GB" sz="1200" kern="1200">
                <a:solidFill>
                  <a:schemeClr val="tx1"/>
                </a:solidFill>
                <a:effectLst/>
                <a:latin typeface="+mn-lt"/>
                <a:ea typeface="+mn-ea"/>
                <a:cs typeface="+mn-cs"/>
              </a:rPr>
              <a:t>We have complementary solution areas in Power BI and wide adoption</a:t>
            </a:r>
          </a:p>
          <a:p>
            <a:r>
              <a:rPr lang="en-GB" sz="1200" kern="1200">
                <a:solidFill>
                  <a:schemeClr val="tx1"/>
                </a:solidFill>
                <a:effectLst/>
                <a:latin typeface="+mn-lt"/>
                <a:ea typeface="+mn-ea"/>
                <a:cs typeface="+mn-cs"/>
              </a:rPr>
              <a:t>And we have large great routes to market through seeded licensing, our sales teams and partner </a:t>
            </a:r>
          </a:p>
          <a:p>
            <a:r>
              <a:rPr lang="en-GB" sz="1200" kern="1200">
                <a:solidFill>
                  <a:schemeClr val="tx1"/>
                </a:solidFill>
                <a:effectLst/>
                <a:latin typeface="+mn-lt"/>
                <a:ea typeface="+mn-ea"/>
                <a:cs typeface="+mn-cs"/>
              </a:rPr>
              <a:t> </a:t>
            </a:r>
          </a:p>
          <a:p>
            <a:r>
              <a:rPr lang="en-GB" sz="1200" b="1" u="sng" kern="1200">
                <a:solidFill>
                  <a:schemeClr val="tx1"/>
                </a:solidFill>
                <a:effectLst/>
                <a:latin typeface="+mn-lt"/>
                <a:ea typeface="+mn-ea"/>
                <a:cs typeface="+mn-cs"/>
              </a:rPr>
              <a:t>Next bullet </a:t>
            </a: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We have some good competition in specialist providers and whilst smaller than us they are focused and have good product offerings. As the first mover from the big tech companies to go into this market we are also constantly under threat of a larger market entrant like Amazon with their rumoured ‘AWS for Everyone’ a direct compete to Power Apps</a:t>
            </a:r>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949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Image Placeholder 10">
            <a:extLst>
              <a:ext uri="{FF2B5EF4-FFF2-40B4-BE49-F238E27FC236}">
                <a16:creationId xmlns:a16="http://schemas.microsoft.com/office/drawing/2014/main" id="{F7DA69E7-7BD2-4789-83EE-8267942C846E}"/>
              </a:ext>
            </a:extLst>
          </p:cNvPr>
          <p:cNvSpPr>
            <a:spLocks noGrp="1" noRot="1" noChangeAspect="1"/>
          </p:cNvSpPr>
          <p:nvPr>
            <p:ph type="sldImg"/>
          </p:nvPr>
        </p:nvSpPr>
        <p:spPr/>
      </p:sp>
      <p:sp>
        <p:nvSpPr>
          <p:cNvPr id="12" name="TextBox 11">
            <a:extLst>
              <a:ext uri="{FF2B5EF4-FFF2-40B4-BE49-F238E27FC236}">
                <a16:creationId xmlns:a16="http://schemas.microsoft.com/office/drawing/2014/main" id="{2C1C67C0-ADE2-48CE-9619-DBCC44823E6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3" name="TextBox 12">
            <a:extLst>
              <a:ext uri="{FF2B5EF4-FFF2-40B4-BE49-F238E27FC236}">
                <a16:creationId xmlns:a16="http://schemas.microsoft.com/office/drawing/2014/main" id="{D6F79197-1DFA-4363-94FD-30B2C26915A5}"/>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92353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Chris </a:t>
            </a:r>
          </a:p>
          <a:p>
            <a:pPr marL="228600" indent="-228600">
              <a:buAutoNum type="arabicPeriod"/>
            </a:pPr>
            <a:r>
              <a:rPr lang="en-US" dirty="0"/>
              <a:t>Businesses have spent years gathering data. The number of enterprises with more than 100TB unstructured data has doubled since 2016.</a:t>
            </a:r>
          </a:p>
          <a:p>
            <a:pPr marL="228600" indent="-228600">
              <a:buAutoNum type="arabicPeriod"/>
            </a:pPr>
            <a:r>
              <a:rPr lang="en-US" dirty="0"/>
              <a:t>Very few of those businesses </a:t>
            </a:r>
            <a:r>
              <a:rPr lang="en-US" dirty="0" err="1"/>
              <a:t>analyse</a:t>
            </a:r>
            <a:r>
              <a:rPr lang="en-US" dirty="0"/>
              <a:t> that data and make it actionable.</a:t>
            </a:r>
          </a:p>
          <a:p>
            <a:pPr marL="228600" indent="-228600">
              <a:buAutoNum type="arabicPeriod"/>
            </a:pPr>
            <a:r>
              <a:rPr lang="en-US" dirty="0"/>
              <a:t>The workforce all over the globe require multi device capacity and collaboration.</a:t>
            </a:r>
          </a:p>
          <a:p>
            <a:pPr marL="228600" indent="-228600">
              <a:buAutoNum type="arabicPeriod"/>
            </a:pPr>
            <a:r>
              <a:rPr lang="en-US" dirty="0"/>
              <a:t>Time spent on mobile devices is significantly higher.</a:t>
            </a:r>
          </a:p>
          <a:p>
            <a:pPr marL="228600" indent="-228600">
              <a:buAutoNum type="arabicPeriod"/>
            </a:pPr>
            <a:r>
              <a:rPr lang="en-US" dirty="0"/>
              <a:t>Creating applications can often prove to be time consuming and expensive.</a:t>
            </a:r>
          </a:p>
          <a:p>
            <a:pPr marL="228600" indent="-228600">
              <a:buAutoNum type="arabicPeriod"/>
            </a:pPr>
            <a:r>
              <a:rPr lang="en-US" dirty="0"/>
              <a:t>Line of Business decision makers are critical to the process. 81% of projects are influenced by </a:t>
            </a:r>
            <a:r>
              <a:rPr lang="en-US" dirty="0" err="1"/>
              <a:t>LoB</a:t>
            </a:r>
            <a:r>
              <a:rPr lang="en-US" dirty="0"/>
              <a:t> decision makers that are looking to create their own solutions.</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4C206D-75CC-904B-80D3-E67E7E50E8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121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Chri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What is on top of mind for your customers? – Their customers are going digital… they’re trying to be agile and provide a great customer experience quickly.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There is always friction between business expectations and what IT can deliver quickly.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More &amp; more investment for technology is coming from business users and through business prioritie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https://knowledgecompass.com/line-of-business-technology-budget-responsibiliti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https://www.ca.com/content/dam/ca/us/files/product-brief/how-to-survive-and-thrive-in-the-application-economy.pdf</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a:solidFill>
                  <a:srgbClr val="008000"/>
                </a:solidFill>
              </a:rPr>
              <a:t>What if you had a solution that can help address these challenges addressed for both the business and the technology team.</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dirty="0">
              <a:solidFill>
                <a:srgbClr val="008000"/>
              </a:solidFill>
            </a:endParaRPr>
          </a:p>
        </p:txBody>
      </p:sp>
    </p:spTree>
    <p:extLst>
      <p:ext uri="{BB962C8B-B14F-4D97-AF65-F5344CB8AC3E}">
        <p14:creationId xmlns:p14="http://schemas.microsoft.com/office/powerpoint/2010/main" val="886063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veloping customer software to if often privileged for a handful of business</a:t>
            </a:r>
            <a:r>
              <a:rPr lang="en-US" baseline="0" dirty="0"/>
              <a:t> apps, as building customer applications to meet enterprise requirement has its own challenges : </a:t>
            </a:r>
          </a:p>
          <a:p>
            <a:pPr marL="171450" lvl="0" indent="-171450" fontAlgn="ctr">
              <a:buFont typeface="Arial" panose="020B0604020202020204" pitchFamily="34" charset="0"/>
              <a:buChar char="•"/>
            </a:pPr>
            <a:r>
              <a:rPr lang="en-US" sz="1200" kern="1200" dirty="0">
                <a:solidFill>
                  <a:schemeClr val="tx1"/>
                </a:solidFill>
                <a:effectLst/>
                <a:latin typeface="Segoe UI Light" pitchFamily="34" charset="0"/>
                <a:ea typeface="+mn-ea"/>
                <a:cs typeface="+mn-cs"/>
              </a:rPr>
              <a:t>Time consuming</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  developing of a customer mobile app can take anywhere from 3 to 12 months for a single project, depending on the app complexity (source ADT magazine).  This becomes challenging in situation where LOB wants to respond and implement improvements quickly </a:t>
            </a:r>
          </a:p>
          <a:p>
            <a:pPr marL="171450" indent="-171450">
              <a:buFont typeface="Arial" panose="020B0604020202020204" pitchFamily="34" charset="0"/>
              <a:buChar char="•"/>
            </a:pPr>
            <a:r>
              <a:rPr lang="en-US" dirty="0"/>
              <a:t>Cost prohibitive</a:t>
            </a:r>
            <a:r>
              <a:rPr lang="en-US" baseline="0" dirty="0"/>
              <a:t> : driven by a shortage of specialized resourcing : </a:t>
            </a:r>
            <a:r>
              <a:rPr lang="en-US" sz="1200" kern="1200" dirty="0">
                <a:solidFill>
                  <a:schemeClr val="tx1"/>
                </a:solidFill>
                <a:effectLst/>
                <a:latin typeface="Segoe UI Light" pitchFamily="34" charset="0"/>
                <a:ea typeface="+mn-ea"/>
                <a:cs typeface="+mn-cs"/>
              </a:rPr>
              <a:t>94% of the enterprise organization hav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a shortage of App developers, as</a:t>
            </a:r>
            <a:r>
              <a:rPr lang="en-US" sz="1200" kern="1200" baseline="0" dirty="0">
                <a:solidFill>
                  <a:schemeClr val="tx1"/>
                </a:solidFill>
                <a:effectLst/>
                <a:latin typeface="Segoe UI Light" pitchFamily="34" charset="0"/>
                <a:ea typeface="+mn-ea"/>
                <a:cs typeface="+mn-cs"/>
              </a:rPr>
              <a:t> a lot of App developers still prioritize consumer facing Apps (Source ADT Magazine &amp; Vision Mobile)</a:t>
            </a:r>
            <a:endParaRPr lang="en-US" sz="12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Off-the-shelf</a:t>
            </a:r>
            <a:r>
              <a:rPr lang="en-US" baseline="0" dirty="0"/>
              <a:t> SaaS can only solve so many problem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Most ‘off-the-shelf’ SaaS solutions are targeted as solving specific problems` and often come with their own mobile App. </a:t>
            </a:r>
            <a:r>
              <a:rPr lang="en-US" sz="1200" kern="1200" dirty="0">
                <a:solidFill>
                  <a:schemeClr val="tx1"/>
                </a:solidFill>
                <a:effectLst/>
                <a:latin typeface="Segoe UI Light" pitchFamily="34" charset="0"/>
                <a:ea typeface="+mn-ea"/>
                <a:cs typeface="+mn-cs"/>
              </a:rPr>
              <a:t>These apps provide a mobilize experience of these specific SaaS solutions. </a:t>
            </a:r>
            <a:endParaRPr lang="en-US" baseline="0" dirty="0"/>
          </a:p>
          <a:p>
            <a:pPr marL="171450" lvl="0" indent="-171450" fontAlgn="ctr">
              <a:buFont typeface="Arial" panose="020B0604020202020204" pitchFamily="34" charset="0"/>
              <a:buChar char="•"/>
            </a:pPr>
            <a:r>
              <a:rPr lang="en-US" sz="1200" kern="1200" dirty="0">
                <a:solidFill>
                  <a:schemeClr val="tx1"/>
                </a:solidFill>
                <a:effectLst/>
                <a:latin typeface="Segoe UI Light" pitchFamily="34" charset="0"/>
                <a:ea typeface="+mn-ea"/>
                <a:cs typeface="+mn-cs"/>
              </a:rPr>
              <a:t>However, the onslaught of information from these individual often disconnected SaaS services will virtually make it impossible for workers to follow everyday business processes. More and more business process will span multiple applications and SaaS services. (Source: </a:t>
            </a:r>
            <a:r>
              <a:rPr lang="en-US" sz="1200" u="sng" kern="1200" dirty="0" err="1">
                <a:solidFill>
                  <a:schemeClr val="tx1"/>
                </a:solidFill>
                <a:effectLst/>
                <a:latin typeface="Segoe UI Light" pitchFamily="34" charset="0"/>
                <a:ea typeface="+mn-ea"/>
                <a:cs typeface="+mn-cs"/>
                <a:hlinkClick r:id="rId3"/>
              </a:rPr>
              <a:t>eWeek</a:t>
            </a:r>
            <a:r>
              <a:rPr lang="en-US" sz="1200" kern="1200" dirty="0">
                <a:solidFill>
                  <a:schemeClr val="tx1"/>
                </a:solidFill>
                <a:effectLst/>
                <a:latin typeface="Segoe UI Light" pitchFamily="34" charset="0"/>
                <a:ea typeface="+mn-ea"/>
                <a:cs typeface="+mn-cs"/>
              </a:rPr>
              <a:t>)</a:t>
            </a:r>
          </a:p>
          <a:p>
            <a:pPr marL="171450" lvl="0" indent="-171450" fontAlgn="ctr">
              <a:buFont typeface="Arial" panose="020B0604020202020204" pitchFamily="34" charset="0"/>
              <a:buChar char="•"/>
            </a:pPr>
            <a:endParaRPr lang="en-US" sz="1200" kern="1200" dirty="0">
              <a:solidFill>
                <a:schemeClr val="tx1"/>
              </a:solidFill>
              <a:effectLst/>
              <a:latin typeface="Segoe UI Light" pitchFamily="34" charset="0"/>
              <a:ea typeface="+mn-ea"/>
              <a:cs typeface="+mn-cs"/>
            </a:endParaRPr>
          </a:p>
          <a:p>
            <a:pPr marL="0" lvl="0" indent="0" fontAlgn="ctr">
              <a:buFont typeface="Arial" panose="020B0604020202020204" pitchFamily="34" charset="0"/>
              <a:buNone/>
            </a:pPr>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511518-660E-48AA-94D8-6E35A7824E9F}"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258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4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out 8 years ago, we began to lay down a planet-scale footprint of data centered capacity.  The ability to catch every piece of telemetry information coming out of every aircraft engine, every tweet, every time someone comes to the website, all of this information, and providing a place where it can be captured and stored in privacy, secured in compliance with the nation or state regulations where the data has sovereignty.  </a:t>
            </a:r>
            <a:r>
              <a:rPr lang="en-US" i="1"/>
              <a:t>&lt;click&gt;</a:t>
            </a:r>
          </a:p>
          <a:p>
            <a:endParaRPr lang="en-US"/>
          </a:p>
          <a:p>
            <a:r>
              <a:rPr lang="en-US"/>
              <a:t>We invested heavily at the bottom where the changes occur, where the data is increasingly coming out of everything.  Then on top of that, we built an intelligence platform and an application platform in Azure that allows you take all of that data, turn it into intelligence, and then act intelligently to predict and proact.  </a:t>
            </a:r>
            <a:r>
              <a:rPr lang="en-US" i="1"/>
              <a:t>&lt;click&gt;</a:t>
            </a:r>
          </a:p>
          <a:p>
            <a:endParaRPr lang="en-US"/>
          </a:p>
          <a:p>
            <a:r>
              <a:rPr lang="en-US"/>
              <a:t>Then on top of that, we built the Power Platform (Power BI, Power Apps, Microsoft Flow, the Common Data Service), that allow non-professional programmers to harness data.  </a:t>
            </a:r>
            <a:r>
              <a:rPr lang="en-US" i="1"/>
              <a:t>&lt;click&gt;</a:t>
            </a:r>
          </a:p>
          <a:p>
            <a:endParaRPr lang="en-US"/>
          </a:p>
          <a:p>
            <a:r>
              <a:rPr lang="en-US"/>
              <a:t>Then on top of that, we built Office 365 and Dynamics 365, which are out of the box applications that infuse data and intelligence into business processes.  </a:t>
            </a:r>
            <a:r>
              <a:rPr lang="en-US" i="1"/>
              <a:t>&lt;click&gt;</a:t>
            </a:r>
          </a:p>
          <a:p>
            <a:endParaRPr lang="en-US"/>
          </a:p>
          <a:p>
            <a:r>
              <a:rPr lang="en-US"/>
              <a:t>On top of that, we built AppSource, allowing all of you, many of our partners, to create solutions that target specific industries or specialized business process that we do not target ourselves in Office or Dynamics.   </a:t>
            </a:r>
            <a:r>
              <a:rPr lang="en-US" i="1"/>
              <a:t>&lt;click&gt;</a:t>
            </a:r>
          </a:p>
          <a:p>
            <a:endParaRPr lang="en-US"/>
          </a:p>
          <a:p>
            <a:pPr rtl="0" fontAlgn="base"/>
            <a:r>
              <a:rPr lang="en-US" sz="1200" b="0" i="0" u="none" strike="noStrike" kern="1200">
                <a:solidFill>
                  <a:schemeClr val="tx1"/>
                </a:solidFill>
                <a:effectLst/>
                <a:latin typeface="Segoe UI" panose="020B0502040204020203" pitchFamily="34" charset="0"/>
                <a:ea typeface="+mn-ea"/>
                <a:cs typeface="+mn-cs"/>
              </a:rPr>
              <a:t>And if all that wasn’t enough, coming into the bottom of this “value creation funnel”, is a collection of data sources that Microsoft has like LinkedIn and Bing and other sources to infuse, enrich and augment your data.</a:t>
            </a:r>
          </a:p>
          <a:p>
            <a:endParaRPr lang="en-US"/>
          </a:p>
          <a:p>
            <a:r>
              <a:rPr lang="en-US"/>
              <a:t>And so this picture, layered on top of that digital feedback loop, is that platform that we’re going to talk a lot about today, with a focus on the Power Platform in particular.  </a:t>
            </a:r>
            <a:r>
              <a:rPr lang="en-US" i="1"/>
              <a:t>&lt;click&gt;</a:t>
            </a:r>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24458" rtl="0" eaLnBrk="1" fontAlgn="auto" latinLnBrk="0" hangingPunct="1">
              <a:lnSpc>
                <a:spcPct val="100000"/>
              </a:lnSpc>
              <a:spcBef>
                <a:spcPts val="0"/>
              </a:spcBef>
              <a:spcAft>
                <a:spcPts val="0"/>
              </a:spcAft>
              <a:buClrTx/>
              <a:buSzTx/>
              <a:buFontTx/>
              <a:buNone/>
              <a:tabLst/>
              <a:defRPr/>
            </a:pPr>
            <a:fld id="{22850AE3-E378-4098-B730-8BB16CF3985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45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154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169677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jpe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49.jpe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0.emf"/><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3.jpe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4.jp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5.jp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3.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24.sv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7.xml"/><Relationship Id="rId4" Type="http://schemas.openxmlformats.org/officeDocument/2006/relationships/chart" Target="../charts/chart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10;">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334001" y="0"/>
            <a:ext cx="6858000" cy="6858000"/>
          </a:xfrm>
          <a:prstGeom prst="rect">
            <a:avLst/>
          </a:prstGeom>
        </p:spPr>
      </p:pic>
    </p:spTree>
    <p:extLst>
      <p:ext uri="{BB962C8B-B14F-4D97-AF65-F5344CB8AC3E}">
        <p14:creationId xmlns:p14="http://schemas.microsoft.com/office/powerpoint/2010/main" val="1945583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57E0596C-2A17-43BE-A118-4472065713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0"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descr="Illustration of a young girl, smiling, holding a Surface computer.">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Tree>
    <p:extLst>
      <p:ext uri="{BB962C8B-B14F-4D97-AF65-F5344CB8AC3E}">
        <p14:creationId xmlns:p14="http://schemas.microsoft.com/office/powerpoint/2010/main" val="2645168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Numbers and illustrations</a:t>
            </a:r>
            <a:endParaRPr lang="en-US" dirty="0"/>
          </a:p>
        </p:txBody>
      </p:sp>
      <p:sp>
        <p:nvSpPr>
          <p:cNvPr id="5" name="Rectangle 4">
            <a:extLst>
              <a:ext uri="{FF2B5EF4-FFF2-40B4-BE49-F238E27FC236}">
                <a16:creationId xmlns:a16="http://schemas.microsoft.com/office/drawing/2014/main" id="{BDB5B51D-A3D6-45D1-96B3-AC272751ADDF}"/>
              </a:ext>
            </a:extLst>
          </p:cNvPr>
          <p:cNvSpPr/>
          <p:nvPr userDrawn="1"/>
        </p:nvSpPr>
        <p:spPr bwMode="auto">
          <a:xfrm>
            <a:off x="455996" y="1361242"/>
            <a:ext cx="5433016" cy="514081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solidFill>
                <a:srgbClr val="008C72"/>
              </a:soli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7DFBD81-6ADC-4CCF-961A-0E52591D2EFD}"/>
              </a:ext>
            </a:extLst>
          </p:cNvPr>
          <p:cNvSpPr txBox="1"/>
          <p:nvPr userDrawn="1"/>
        </p:nvSpPr>
        <p:spPr>
          <a:xfrm>
            <a:off x="473196" y="1218720"/>
            <a:ext cx="5221548" cy="5169583"/>
          </a:xfrm>
          <a:prstGeom prst="rect">
            <a:avLst/>
          </a:prstGeom>
          <a:noFill/>
        </p:spPr>
        <p:txBody>
          <a:bodyPr wrap="none" lIns="175761" tIns="140609" rIns="175761" bIns="140609" rtlCol="0">
            <a:spAutoFit/>
          </a:bodyPr>
          <a:lstStyle/>
          <a:p>
            <a:pPr defTabSz="896354">
              <a:lnSpc>
                <a:spcPct val="90000"/>
              </a:lnSpc>
              <a:spcAft>
                <a:spcPts val="576"/>
              </a:spcAft>
              <a:defRPr/>
            </a:pPr>
            <a:r>
              <a:rPr lang="en-US" sz="35268" spc="-1441">
                <a:solidFill>
                  <a:srgbClr val="FFFFFF"/>
                </a:solidFill>
                <a:latin typeface="Segoe UI Semibold"/>
              </a:rPr>
              <a:t>3b</a:t>
            </a:r>
          </a:p>
        </p:txBody>
      </p:sp>
      <p:sp>
        <p:nvSpPr>
          <p:cNvPr id="8" name="Rectangle 7">
            <a:extLst>
              <a:ext uri="{FF2B5EF4-FFF2-40B4-BE49-F238E27FC236}">
                <a16:creationId xmlns:a16="http://schemas.microsoft.com/office/drawing/2014/main" id="{8419003A-F64F-4AEF-96DD-D911E18EFE46}"/>
              </a:ext>
            </a:extLst>
          </p:cNvPr>
          <p:cNvSpPr/>
          <p:nvPr userDrawn="1"/>
        </p:nvSpPr>
        <p:spPr bwMode="auto">
          <a:xfrm rot="5400000">
            <a:off x="9019298" y="1287685"/>
            <a:ext cx="2458026" cy="26051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0ACEADD2-C54E-41CF-BC5A-57B40503EA23}"/>
              </a:ext>
            </a:extLst>
          </p:cNvPr>
          <p:cNvSpPr/>
          <p:nvPr userDrawn="1"/>
        </p:nvSpPr>
        <p:spPr bwMode="auto">
          <a:xfrm rot="5400000">
            <a:off x="6188362" y="1289360"/>
            <a:ext cx="2458026" cy="2601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4D43341-6BEF-4352-831E-F236084DF55D}"/>
              </a:ext>
            </a:extLst>
          </p:cNvPr>
          <p:cNvSpPr/>
          <p:nvPr userDrawn="1"/>
        </p:nvSpPr>
        <p:spPr bwMode="auto">
          <a:xfrm rot="5400000">
            <a:off x="9019298" y="3970466"/>
            <a:ext cx="2458026" cy="26051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0D1EE2E7-E4B8-404D-A648-69381E586F26}"/>
              </a:ext>
            </a:extLst>
          </p:cNvPr>
          <p:cNvSpPr/>
          <p:nvPr userDrawn="1"/>
        </p:nvSpPr>
        <p:spPr bwMode="auto">
          <a:xfrm rot="5400000">
            <a:off x="6188387" y="3972142"/>
            <a:ext cx="2458026" cy="26017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5D4FE9EC-29CA-4C9E-8677-F81B153B279E}"/>
              </a:ext>
            </a:extLst>
          </p:cNvPr>
          <p:cNvSpPr txBox="1"/>
          <p:nvPr userDrawn="1"/>
        </p:nvSpPr>
        <p:spPr>
          <a:xfrm>
            <a:off x="671231" y="5342009"/>
            <a:ext cx="5164119" cy="875678"/>
          </a:xfrm>
          <a:prstGeom prst="rect">
            <a:avLst/>
          </a:prstGeom>
          <a:noFill/>
        </p:spPr>
        <p:txBody>
          <a:bodyPr wrap="square" lIns="175761" tIns="140609" rIns="175761" bIns="140609" rtlCol="0">
            <a:spAutoFit/>
          </a:bodyPr>
          <a:lstStyle/>
          <a:p>
            <a:pPr defTabSz="896354">
              <a:lnSpc>
                <a:spcPts val="2307"/>
              </a:lnSpc>
              <a:spcAft>
                <a:spcPts val="576"/>
              </a:spcAft>
              <a:defRPr/>
            </a:pPr>
            <a:r>
              <a:rPr lang="en-US" sz="1922">
                <a:solidFill>
                  <a:srgbClr val="FFFFFF"/>
                </a:solidFill>
                <a:latin typeface="Segoe UI"/>
              </a:rPr>
              <a:t>Subhead Segoe UI Regular 20/24. </a:t>
            </a:r>
            <a:r>
              <a:rPr lang="en-US" sz="1922" err="1">
                <a:solidFill>
                  <a:srgbClr val="FFFFFF"/>
                </a:solidFill>
                <a:latin typeface="Segoe UI"/>
              </a:rPr>
              <a:t>Em</a:t>
            </a:r>
            <a:r>
              <a:rPr lang="en-US" sz="1922">
                <a:solidFill>
                  <a:srgbClr val="FFFFFF"/>
                </a:solidFill>
                <a:latin typeface="Segoe UI"/>
              </a:rPr>
              <a:t> </a:t>
            </a:r>
            <a:r>
              <a:rPr lang="en-US" sz="1922" err="1">
                <a:solidFill>
                  <a:srgbClr val="FFFFFF"/>
                </a:solidFill>
                <a:latin typeface="Segoe UI"/>
              </a:rPr>
              <a:t>volor</a:t>
            </a:r>
            <a:r>
              <a:rPr lang="en-US" sz="1922">
                <a:solidFill>
                  <a:srgbClr val="FFFFFF"/>
                </a:solidFill>
                <a:latin typeface="Segoe UI"/>
              </a:rPr>
              <a:t> </a:t>
            </a:r>
            <a:r>
              <a:rPr lang="en-US" sz="1922" err="1">
                <a:solidFill>
                  <a:srgbClr val="FFFFFF"/>
                </a:solidFill>
                <a:latin typeface="Segoe UI"/>
              </a:rPr>
              <a:t>resequaectur</a:t>
            </a:r>
            <a:r>
              <a:rPr lang="en-US" sz="1922">
                <a:solidFill>
                  <a:srgbClr val="FFFFFF"/>
                </a:solidFill>
                <a:latin typeface="Segoe UI"/>
              </a:rPr>
              <a:t>. </a:t>
            </a:r>
            <a:r>
              <a:rPr lang="en-US" sz="1922" err="1">
                <a:solidFill>
                  <a:srgbClr val="FFFFFF"/>
                </a:solidFill>
                <a:latin typeface="Segoe UI"/>
              </a:rPr>
              <a:t>Ut</a:t>
            </a:r>
            <a:r>
              <a:rPr lang="en-US" sz="1922">
                <a:solidFill>
                  <a:srgbClr val="FFFFFF"/>
                </a:solidFill>
                <a:latin typeface="Segoe UI"/>
              </a:rPr>
              <a:t> </a:t>
            </a:r>
            <a:r>
              <a:rPr lang="en-US" sz="1922" err="1">
                <a:solidFill>
                  <a:srgbClr val="FFFFFF"/>
                </a:solidFill>
                <a:latin typeface="Segoe UI"/>
              </a:rPr>
              <a:t>laborem</a:t>
            </a:r>
            <a:r>
              <a:rPr lang="en-US" sz="1922">
                <a:solidFill>
                  <a:srgbClr val="FFFFFF"/>
                </a:solidFill>
                <a:latin typeface="Segoe UI"/>
              </a:rPr>
              <a:t> </a:t>
            </a:r>
            <a:r>
              <a:rPr lang="en-US" sz="1922" err="1">
                <a:solidFill>
                  <a:srgbClr val="FFFFFF"/>
                </a:solidFill>
                <a:latin typeface="Segoe UI"/>
              </a:rPr>
              <a:t>faceperatias</a:t>
            </a:r>
            <a:r>
              <a:rPr lang="en-US" sz="1922">
                <a:solidFill>
                  <a:srgbClr val="FFFFFF"/>
                </a:solidFill>
                <a:latin typeface="Segoe UI"/>
              </a:rPr>
              <a:t> sit.</a:t>
            </a:r>
          </a:p>
        </p:txBody>
      </p:sp>
      <p:sp>
        <p:nvSpPr>
          <p:cNvPr id="14" name="TextBox 13">
            <a:extLst>
              <a:ext uri="{FF2B5EF4-FFF2-40B4-BE49-F238E27FC236}">
                <a16:creationId xmlns:a16="http://schemas.microsoft.com/office/drawing/2014/main" id="{6E198C85-4299-4BD3-B199-E87A7E889890}"/>
              </a:ext>
            </a:extLst>
          </p:cNvPr>
          <p:cNvSpPr txBox="1"/>
          <p:nvPr userDrawn="1"/>
        </p:nvSpPr>
        <p:spPr>
          <a:xfrm>
            <a:off x="9215536" y="1932456"/>
            <a:ext cx="1930371" cy="1397830"/>
          </a:xfrm>
          <a:prstGeom prst="rect">
            <a:avLst/>
          </a:prstGeom>
          <a:noFill/>
        </p:spPr>
        <p:txBody>
          <a:bodyPr wrap="none" lIns="0" tIns="0" rIns="0" bIns="0" rtlCol="0">
            <a:spAutoFit/>
          </a:bodyPr>
          <a:lstStyle/>
          <a:p>
            <a:pPr algn="ctr" defTabSz="896354">
              <a:lnSpc>
                <a:spcPct val="90000"/>
              </a:lnSpc>
              <a:spcAft>
                <a:spcPts val="576"/>
              </a:spcAft>
              <a:defRPr/>
            </a:pPr>
            <a:r>
              <a:rPr lang="en-US" sz="10090" spc="-480">
                <a:solidFill>
                  <a:srgbClr val="FFFFFF"/>
                </a:solidFill>
                <a:latin typeface="Segoe UI Semibold"/>
              </a:rPr>
              <a:t>25k</a:t>
            </a:r>
          </a:p>
        </p:txBody>
      </p:sp>
      <p:sp>
        <p:nvSpPr>
          <p:cNvPr id="15" name="TextBox 14">
            <a:extLst>
              <a:ext uri="{FF2B5EF4-FFF2-40B4-BE49-F238E27FC236}">
                <a16:creationId xmlns:a16="http://schemas.microsoft.com/office/drawing/2014/main" id="{B5F20DE2-91C7-49E2-8222-B62756B7F354}"/>
              </a:ext>
            </a:extLst>
          </p:cNvPr>
          <p:cNvSpPr txBox="1"/>
          <p:nvPr userDrawn="1"/>
        </p:nvSpPr>
        <p:spPr>
          <a:xfrm>
            <a:off x="6310369" y="4364854"/>
            <a:ext cx="2130649" cy="1420018"/>
          </a:xfrm>
          <a:prstGeom prst="rect">
            <a:avLst/>
          </a:prstGeom>
          <a:noFill/>
        </p:spPr>
        <p:txBody>
          <a:bodyPr wrap="none" lIns="0" tIns="0" rIns="0" bIns="140609" rtlCol="0">
            <a:spAutoFit/>
          </a:bodyPr>
          <a:lstStyle/>
          <a:p>
            <a:pPr algn="ctr" defTabSz="896354">
              <a:lnSpc>
                <a:spcPct val="90000"/>
              </a:lnSpc>
              <a:spcAft>
                <a:spcPts val="576"/>
              </a:spcAft>
              <a:defRPr/>
            </a:pPr>
            <a:r>
              <a:rPr lang="en-US" sz="9226" spc="-480">
                <a:solidFill>
                  <a:srgbClr val="FFFFFF"/>
                </a:solidFill>
                <a:latin typeface="Segoe UI Semibold"/>
              </a:rPr>
              <a:t>66%</a:t>
            </a:r>
          </a:p>
        </p:txBody>
      </p:sp>
      <p:sp>
        <p:nvSpPr>
          <p:cNvPr id="16" name="Rectangle 15">
            <a:extLst>
              <a:ext uri="{FF2B5EF4-FFF2-40B4-BE49-F238E27FC236}">
                <a16:creationId xmlns:a16="http://schemas.microsoft.com/office/drawing/2014/main" id="{0441DBE8-5C5B-45AB-9F18-D633B9316199}"/>
              </a:ext>
            </a:extLst>
          </p:cNvPr>
          <p:cNvSpPr/>
          <p:nvPr userDrawn="1"/>
        </p:nvSpPr>
        <p:spPr>
          <a:xfrm>
            <a:off x="6390867" y="5525088"/>
            <a:ext cx="2050152" cy="666849"/>
          </a:xfrm>
          <a:prstGeom prst="rect">
            <a:avLst/>
          </a:prstGeom>
        </p:spPr>
        <p:txBody>
          <a:bodyPr wrap="square" lIns="0" tIns="0" rIns="0" bIns="0">
            <a:spAutoFit/>
          </a:bodyPr>
          <a:lstStyle/>
          <a:p>
            <a:pPr defTabSz="896354">
              <a:lnSpc>
                <a:spcPts val="1345"/>
              </a:lnSpc>
              <a:spcBef>
                <a:spcPts val="865"/>
              </a:spcBef>
              <a:buSzPct val="90000"/>
              <a:defRPr/>
            </a:pPr>
            <a:r>
              <a:rPr lang="en-US" sz="1153" b="1">
                <a:solidFill>
                  <a:srgbClr val="FFFFFF"/>
                </a:solidFill>
                <a:latin typeface="Segoe UI"/>
              </a:rPr>
              <a:t>Lorem ipsum dolor sit </a:t>
            </a:r>
            <a:r>
              <a:rPr lang="en-US" sz="1153" b="1" err="1">
                <a:solidFill>
                  <a:srgbClr val="FFFFFF"/>
                </a:solidFill>
                <a:latin typeface="Segoe UI"/>
              </a:rPr>
              <a:t>amet</a:t>
            </a:r>
            <a:r>
              <a:rPr lang="en-US" sz="1153" b="1">
                <a:solidFill>
                  <a:srgbClr val="FFFFFF"/>
                </a:solidFill>
                <a:latin typeface="Segoe UI"/>
              </a:rPr>
              <a:t>  </a:t>
            </a:r>
            <a:r>
              <a:rPr lang="en-US" sz="1153" b="1" err="1">
                <a:solidFill>
                  <a:srgbClr val="FFFFFF"/>
                </a:solidFill>
                <a:latin typeface="Segoe UI"/>
              </a:rPr>
              <a:t>Otaectiu</a:t>
            </a:r>
            <a:r>
              <a:rPr lang="en-US" sz="1153" b="1">
                <a:solidFill>
                  <a:srgbClr val="FFFFFF"/>
                </a:solidFill>
                <a:latin typeface="Segoe UI"/>
              </a:rPr>
              <a:t> </a:t>
            </a:r>
            <a:r>
              <a:rPr lang="en-US" sz="1153" b="1" err="1">
                <a:solidFill>
                  <a:srgbClr val="FFFFFF"/>
                </a:solidFill>
                <a:latin typeface="Segoe UI"/>
              </a:rPr>
              <a:t>mendus</a:t>
            </a:r>
            <a:r>
              <a:rPr lang="en-US" sz="1153" b="1">
                <a:solidFill>
                  <a:srgbClr val="FFFFFF"/>
                </a:solidFill>
                <a:latin typeface="Segoe UI"/>
              </a:rPr>
              <a:t>, </a:t>
            </a:r>
            <a:r>
              <a:rPr lang="en-US" sz="1153" b="1" err="1">
                <a:solidFill>
                  <a:srgbClr val="FFFFFF"/>
                </a:solidFill>
                <a:latin typeface="Segoe UI"/>
              </a:rPr>
              <a:t>odi</a:t>
            </a:r>
            <a:r>
              <a:rPr lang="en-US" sz="1153" b="1">
                <a:solidFill>
                  <a:srgbClr val="FFFFFF"/>
                </a:solidFill>
                <a:latin typeface="Segoe UI"/>
              </a:rPr>
              <a:t> </a:t>
            </a:r>
            <a:r>
              <a:rPr lang="en-US" sz="1153" b="1" err="1">
                <a:solidFill>
                  <a:srgbClr val="FFFFFF"/>
                </a:solidFill>
                <a:latin typeface="Segoe UI"/>
              </a:rPr>
              <a:t>iminctatiur</a:t>
            </a:r>
            <a:r>
              <a:rPr lang="en-US" sz="1153" b="1">
                <a:solidFill>
                  <a:srgbClr val="FFFFFF"/>
                </a:solidFill>
                <a:latin typeface="Segoe UI"/>
              </a:rPr>
              <a:t>, </a:t>
            </a:r>
            <a:r>
              <a:rPr lang="en-US" sz="1153" b="1" err="1">
                <a:solidFill>
                  <a:srgbClr val="FFFFFF"/>
                </a:solidFill>
                <a:latin typeface="Segoe UI"/>
              </a:rPr>
              <a:t>si</a:t>
            </a:r>
            <a:r>
              <a:rPr lang="en-US" sz="1153" b="1">
                <a:solidFill>
                  <a:srgbClr val="FFFFFF"/>
                </a:solidFill>
                <a:latin typeface="Segoe UI"/>
              </a:rPr>
              <a:t> </a:t>
            </a:r>
            <a:r>
              <a:rPr lang="en-US" sz="1153" b="1" err="1">
                <a:solidFill>
                  <a:srgbClr val="FFFFFF"/>
                </a:solidFill>
                <a:latin typeface="Segoe UI"/>
              </a:rPr>
              <a:t>dolest</a:t>
            </a:r>
            <a:r>
              <a:rPr lang="en-US" sz="1153" b="1">
                <a:solidFill>
                  <a:srgbClr val="FFFFFF"/>
                </a:solidFill>
                <a:latin typeface="Segoe UI"/>
              </a:rPr>
              <a:t>, qui sit </a:t>
            </a:r>
            <a:r>
              <a:rPr lang="en-US" sz="1153" b="1" err="1">
                <a:solidFill>
                  <a:srgbClr val="FFFFFF"/>
                </a:solidFill>
                <a:latin typeface="Segoe UI"/>
              </a:rPr>
              <a:t>odicilit</a:t>
            </a:r>
            <a:r>
              <a:rPr lang="en-US" sz="1153" b="1">
                <a:solidFill>
                  <a:srgbClr val="FFFFFF"/>
                </a:solidFill>
                <a:latin typeface="Segoe UI"/>
              </a:rPr>
              <a:t> </a:t>
            </a:r>
            <a:r>
              <a:rPr lang="en-US" sz="1153" b="1" err="1">
                <a:solidFill>
                  <a:srgbClr val="FFFFFF"/>
                </a:solidFill>
                <a:latin typeface="Segoe UI"/>
              </a:rPr>
              <a:t>maionet</a:t>
            </a:r>
            <a:r>
              <a:rPr lang="en-US" sz="1153" b="1">
                <a:solidFill>
                  <a:srgbClr val="FFFFFF"/>
                </a:solidFill>
                <a:latin typeface="Segoe UI"/>
              </a:rPr>
              <a:t> </a:t>
            </a:r>
            <a:r>
              <a:rPr lang="en-US" sz="1153" b="1" err="1">
                <a:solidFill>
                  <a:srgbClr val="FFFFFF"/>
                </a:solidFill>
                <a:latin typeface="Segoe UI"/>
              </a:rPr>
              <a:t>essunt</a:t>
            </a:r>
            <a:r>
              <a:rPr lang="en-US" sz="1153" b="1">
                <a:solidFill>
                  <a:srgbClr val="FFFFFF"/>
                </a:solidFill>
                <a:latin typeface="Segoe UI"/>
              </a:rPr>
              <a:t>.</a:t>
            </a:r>
          </a:p>
        </p:txBody>
      </p:sp>
      <p:sp>
        <p:nvSpPr>
          <p:cNvPr id="17" name="Rectangle 16">
            <a:extLst>
              <a:ext uri="{FF2B5EF4-FFF2-40B4-BE49-F238E27FC236}">
                <a16:creationId xmlns:a16="http://schemas.microsoft.com/office/drawing/2014/main" id="{3A7DFDBC-5D6E-4B5E-A5E2-9E5BB2EB34FB}"/>
              </a:ext>
            </a:extLst>
          </p:cNvPr>
          <p:cNvSpPr/>
          <p:nvPr userDrawn="1"/>
        </p:nvSpPr>
        <p:spPr>
          <a:xfrm>
            <a:off x="9248908" y="3157714"/>
            <a:ext cx="2050152" cy="166712"/>
          </a:xfrm>
          <a:prstGeom prst="rect">
            <a:avLst/>
          </a:prstGeom>
        </p:spPr>
        <p:txBody>
          <a:bodyPr wrap="square" lIns="0" tIns="0" rIns="0" bIns="0">
            <a:spAutoFit/>
          </a:bodyPr>
          <a:lstStyle/>
          <a:p>
            <a:pPr defTabSz="896354">
              <a:lnSpc>
                <a:spcPts val="1345"/>
              </a:lnSpc>
              <a:spcBef>
                <a:spcPts val="865"/>
              </a:spcBef>
              <a:buSzPct val="90000"/>
              <a:defRPr/>
            </a:pPr>
            <a:r>
              <a:rPr lang="da-DK" sz="1153" b="1">
                <a:solidFill>
                  <a:srgbClr val="FFFFFF"/>
                </a:solidFill>
                <a:latin typeface="Segoe UI"/>
              </a:rPr>
              <a:t>Lorem ipsum dolor sit amet</a:t>
            </a:r>
            <a:endParaRPr lang="en-US" sz="1153" b="1">
              <a:solidFill>
                <a:srgbClr val="FFFFFF"/>
              </a:solidFill>
              <a:latin typeface="Segoe UI"/>
            </a:endParaRPr>
          </a:p>
        </p:txBody>
      </p:sp>
      <p:pic>
        <p:nvPicPr>
          <p:cNvPr id="18" name="Picture 17">
            <a:extLst>
              <a:ext uri="{FF2B5EF4-FFF2-40B4-BE49-F238E27FC236}">
                <a16:creationId xmlns:a16="http://schemas.microsoft.com/office/drawing/2014/main" id="{219078CF-EA72-47D8-B43D-D0F8366F81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94463" y="1928983"/>
            <a:ext cx="2046555" cy="1624964"/>
          </a:xfrm>
          <a:prstGeom prst="rect">
            <a:avLst/>
          </a:prstGeom>
        </p:spPr>
      </p:pic>
      <p:pic>
        <p:nvPicPr>
          <p:cNvPr id="19" name="Picture 18">
            <a:extLst>
              <a:ext uri="{FF2B5EF4-FFF2-40B4-BE49-F238E27FC236}">
                <a16:creationId xmlns:a16="http://schemas.microsoft.com/office/drawing/2014/main" id="{D4AF68F6-79EF-4684-9603-E741CFC950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228383" y="4766459"/>
            <a:ext cx="2018952" cy="1024516"/>
          </a:xfrm>
          <a:prstGeom prst="rect">
            <a:avLst/>
          </a:prstGeom>
        </p:spPr>
      </p:pic>
    </p:spTree>
    <p:extLst>
      <p:ext uri="{BB962C8B-B14F-4D97-AF65-F5344CB8AC3E}">
        <p14:creationId xmlns:p14="http://schemas.microsoft.com/office/powerpoint/2010/main" val="303165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Timeline example</a:t>
            </a:r>
            <a:endParaRPr lang="en-US" dirty="0"/>
          </a:p>
        </p:txBody>
      </p:sp>
      <p:sp>
        <p:nvSpPr>
          <p:cNvPr id="20" name="Rectangle 19">
            <a:extLst>
              <a:ext uri="{FF2B5EF4-FFF2-40B4-BE49-F238E27FC236}">
                <a16:creationId xmlns:a16="http://schemas.microsoft.com/office/drawing/2014/main" id="{6921B1C7-3814-45ED-960C-823E32F3CC10}"/>
              </a:ext>
            </a:extLst>
          </p:cNvPr>
          <p:cNvSpPr/>
          <p:nvPr userDrawn="1"/>
        </p:nvSpPr>
        <p:spPr bwMode="auto">
          <a:xfrm>
            <a:off x="5159154" y="2402819"/>
            <a:ext cx="1896444" cy="8478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80" tIns="87880" rIns="87880" bIns="87880"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21" name="Isosceles Triangle 20">
            <a:extLst>
              <a:ext uri="{FF2B5EF4-FFF2-40B4-BE49-F238E27FC236}">
                <a16:creationId xmlns:a16="http://schemas.microsoft.com/office/drawing/2014/main" id="{367A4767-8943-4508-9744-B01D96AD64C0}"/>
              </a:ext>
            </a:extLst>
          </p:cNvPr>
          <p:cNvSpPr/>
          <p:nvPr userDrawn="1"/>
        </p:nvSpPr>
        <p:spPr bwMode="auto">
          <a:xfrm flipV="1">
            <a:off x="5951669" y="3250678"/>
            <a:ext cx="311414" cy="16564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80" tIns="87880" rIns="87880" bIns="87880"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solidFill>
                <a:srgbClr val="008C72"/>
              </a:solidFill>
              <a:latin typeface="Segoe UI Semibold"/>
              <a:cs typeface="Segoe UI" pitchFamily="34" charset="0"/>
            </a:endParaRPr>
          </a:p>
        </p:txBody>
      </p:sp>
      <p:grpSp>
        <p:nvGrpSpPr>
          <p:cNvPr id="22" name="Group 21">
            <a:extLst>
              <a:ext uri="{FF2B5EF4-FFF2-40B4-BE49-F238E27FC236}">
                <a16:creationId xmlns:a16="http://schemas.microsoft.com/office/drawing/2014/main" id="{A4D6E4A7-0C7A-4AF0-96FB-9380379AFA8B}"/>
              </a:ext>
            </a:extLst>
          </p:cNvPr>
          <p:cNvGrpSpPr/>
          <p:nvPr userDrawn="1"/>
        </p:nvGrpSpPr>
        <p:grpSpPr>
          <a:xfrm>
            <a:off x="2058170" y="2402818"/>
            <a:ext cx="1896444" cy="1013502"/>
            <a:chOff x="2213064" y="2499296"/>
            <a:chExt cx="1973262" cy="1054405"/>
          </a:xfrm>
        </p:grpSpPr>
        <p:sp>
          <p:nvSpPr>
            <p:cNvPr id="23" name="Rectangle 22">
              <a:extLst>
                <a:ext uri="{FF2B5EF4-FFF2-40B4-BE49-F238E27FC236}">
                  <a16:creationId xmlns:a16="http://schemas.microsoft.com/office/drawing/2014/main" id="{DCFD5783-A15F-4A9E-B83B-A0ACAA459E67}"/>
                </a:ext>
              </a:extLst>
            </p:cNvPr>
            <p:cNvSpPr/>
            <p:nvPr/>
          </p:nvSpPr>
          <p:spPr bwMode="auto">
            <a:xfrm>
              <a:off x="2213064" y="2499296"/>
              <a:ext cx="1973262" cy="8820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ea typeface="Segoe UI" pitchFamily="34" charset="0"/>
                  <a:cs typeface="Segoe UI" pitchFamily="34" charset="0"/>
                </a:rPr>
                <a:t>Text</a:t>
              </a:r>
            </a:p>
          </p:txBody>
        </p:sp>
        <p:sp>
          <p:nvSpPr>
            <p:cNvPr id="24" name="Isosceles Triangle 23">
              <a:extLst>
                <a:ext uri="{FF2B5EF4-FFF2-40B4-BE49-F238E27FC236}">
                  <a16:creationId xmlns:a16="http://schemas.microsoft.com/office/drawing/2014/main" id="{6C414750-E110-45BA-B08A-4F852817B6CD}"/>
                </a:ext>
              </a:extLst>
            </p:cNvPr>
            <p:cNvSpPr/>
            <p:nvPr/>
          </p:nvSpPr>
          <p:spPr bwMode="auto">
            <a:xfrm flipV="1">
              <a:off x="2326310" y="3381375"/>
              <a:ext cx="324028" cy="17232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E42B3681-6A2D-4249-9601-9AE70B86D195}"/>
              </a:ext>
            </a:extLst>
          </p:cNvPr>
          <p:cNvGrpSpPr/>
          <p:nvPr userDrawn="1"/>
        </p:nvGrpSpPr>
        <p:grpSpPr>
          <a:xfrm flipH="1">
            <a:off x="9647000" y="2402818"/>
            <a:ext cx="1896444" cy="1013502"/>
            <a:chOff x="2213064" y="2499296"/>
            <a:chExt cx="1973262" cy="1054405"/>
          </a:xfrm>
          <a:solidFill>
            <a:schemeClr val="tx1"/>
          </a:solidFill>
        </p:grpSpPr>
        <p:sp>
          <p:nvSpPr>
            <p:cNvPr id="26" name="Rectangle 25">
              <a:extLst>
                <a:ext uri="{FF2B5EF4-FFF2-40B4-BE49-F238E27FC236}">
                  <a16:creationId xmlns:a16="http://schemas.microsoft.com/office/drawing/2014/main" id="{752AAF37-2F11-49E6-87A3-4A20D2BA262D}"/>
                </a:ext>
              </a:extLst>
            </p:cNvPr>
            <p:cNvSpPr/>
            <p:nvPr/>
          </p:nvSpPr>
          <p:spPr bwMode="auto">
            <a:xfrm>
              <a:off x="2213064" y="2499296"/>
              <a:ext cx="1973262" cy="8820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27" name="Isosceles Triangle 26">
              <a:extLst>
                <a:ext uri="{FF2B5EF4-FFF2-40B4-BE49-F238E27FC236}">
                  <a16:creationId xmlns:a16="http://schemas.microsoft.com/office/drawing/2014/main" id="{D8E20288-A09C-4C8B-B85E-35064B810876}"/>
                </a:ext>
              </a:extLst>
            </p:cNvPr>
            <p:cNvSpPr/>
            <p:nvPr/>
          </p:nvSpPr>
          <p:spPr bwMode="auto">
            <a:xfrm flipV="1">
              <a:off x="2326310" y="3381375"/>
              <a:ext cx="324028" cy="172326"/>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28" name="Group 27">
            <a:extLst>
              <a:ext uri="{FF2B5EF4-FFF2-40B4-BE49-F238E27FC236}">
                <a16:creationId xmlns:a16="http://schemas.microsoft.com/office/drawing/2014/main" id="{01DBD03B-055B-4A42-997B-E26408A68643}"/>
              </a:ext>
            </a:extLst>
          </p:cNvPr>
          <p:cNvGrpSpPr/>
          <p:nvPr userDrawn="1"/>
        </p:nvGrpSpPr>
        <p:grpSpPr>
          <a:xfrm>
            <a:off x="447032" y="3876608"/>
            <a:ext cx="1884238" cy="1013502"/>
            <a:chOff x="2219032" y="2326970"/>
            <a:chExt cx="1960562" cy="1054405"/>
          </a:xfrm>
          <a:solidFill>
            <a:schemeClr val="accent1"/>
          </a:solidFill>
        </p:grpSpPr>
        <p:sp>
          <p:nvSpPr>
            <p:cNvPr id="29" name="Rectangle 28">
              <a:extLst>
                <a:ext uri="{FF2B5EF4-FFF2-40B4-BE49-F238E27FC236}">
                  <a16:creationId xmlns:a16="http://schemas.microsoft.com/office/drawing/2014/main" id="{FE2E7B19-F01A-4222-BBE4-F4E3661FCE2C}"/>
                </a:ext>
              </a:extLst>
            </p:cNvPr>
            <p:cNvSpPr/>
            <p:nvPr/>
          </p:nvSpPr>
          <p:spPr bwMode="auto">
            <a:xfrm>
              <a:off x="2219032" y="2499296"/>
              <a:ext cx="1960562" cy="8820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solidFill>
                    <a:srgbClr val="3C3C41"/>
                  </a:solidFill>
                  <a:latin typeface="Segoe UI Semibold"/>
                  <a:cs typeface="Segoe UI" pitchFamily="34" charset="0"/>
                </a:rPr>
                <a:t>Text</a:t>
              </a:r>
            </a:p>
          </p:txBody>
        </p:sp>
        <p:sp>
          <p:nvSpPr>
            <p:cNvPr id="30" name="Isosceles Triangle 29">
              <a:extLst>
                <a:ext uri="{FF2B5EF4-FFF2-40B4-BE49-F238E27FC236}">
                  <a16:creationId xmlns:a16="http://schemas.microsoft.com/office/drawing/2014/main" id="{6156D824-7A04-495E-B77F-B9A2ED19AEDD}"/>
                </a:ext>
              </a:extLst>
            </p:cNvPr>
            <p:cNvSpPr/>
            <p:nvPr/>
          </p:nvSpPr>
          <p:spPr bwMode="auto">
            <a:xfrm>
              <a:off x="2326310" y="2326970"/>
              <a:ext cx="324028" cy="17232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31" name="Group 30">
            <a:extLst>
              <a:ext uri="{FF2B5EF4-FFF2-40B4-BE49-F238E27FC236}">
                <a16:creationId xmlns:a16="http://schemas.microsoft.com/office/drawing/2014/main" id="{1A8989D5-5E38-45DF-9A68-E8F3E9D8413E}"/>
              </a:ext>
            </a:extLst>
          </p:cNvPr>
          <p:cNvGrpSpPr/>
          <p:nvPr userDrawn="1"/>
        </p:nvGrpSpPr>
        <p:grpSpPr>
          <a:xfrm>
            <a:off x="2890722" y="3876608"/>
            <a:ext cx="1889974" cy="1013502"/>
            <a:chOff x="2213064" y="2326970"/>
            <a:chExt cx="1966530" cy="1054405"/>
          </a:xfrm>
          <a:solidFill>
            <a:schemeClr val="tx1"/>
          </a:solidFill>
        </p:grpSpPr>
        <p:sp>
          <p:nvSpPr>
            <p:cNvPr id="32" name="Rectangle 31">
              <a:extLst>
                <a:ext uri="{FF2B5EF4-FFF2-40B4-BE49-F238E27FC236}">
                  <a16:creationId xmlns:a16="http://schemas.microsoft.com/office/drawing/2014/main" id="{6C1A5DAF-2BEF-4CCA-9EF8-54166EFA9621}"/>
                </a:ext>
              </a:extLst>
            </p:cNvPr>
            <p:cNvSpPr/>
            <p:nvPr/>
          </p:nvSpPr>
          <p:spPr bwMode="auto">
            <a:xfrm>
              <a:off x="2213064" y="2499296"/>
              <a:ext cx="1966530" cy="88207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33" name="Isosceles Triangle 32">
              <a:extLst>
                <a:ext uri="{FF2B5EF4-FFF2-40B4-BE49-F238E27FC236}">
                  <a16:creationId xmlns:a16="http://schemas.microsoft.com/office/drawing/2014/main" id="{43E19614-08A5-449C-B760-40EF201543A3}"/>
                </a:ext>
              </a:extLst>
            </p:cNvPr>
            <p:cNvSpPr/>
            <p:nvPr/>
          </p:nvSpPr>
          <p:spPr bwMode="auto">
            <a:xfrm>
              <a:off x="2326310" y="2326970"/>
              <a:ext cx="324028" cy="172326"/>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grpSp>
        <p:nvGrpSpPr>
          <p:cNvPr id="34" name="Group 33">
            <a:extLst>
              <a:ext uri="{FF2B5EF4-FFF2-40B4-BE49-F238E27FC236}">
                <a16:creationId xmlns:a16="http://schemas.microsoft.com/office/drawing/2014/main" id="{D7AFAF95-89DC-4419-9740-4BC6FC5A3BC5}"/>
              </a:ext>
            </a:extLst>
          </p:cNvPr>
          <p:cNvGrpSpPr/>
          <p:nvPr userDrawn="1"/>
        </p:nvGrpSpPr>
        <p:grpSpPr>
          <a:xfrm flipH="1">
            <a:off x="8310007" y="3876608"/>
            <a:ext cx="1889974" cy="1013502"/>
            <a:chOff x="2213064" y="2326970"/>
            <a:chExt cx="1966530" cy="1054405"/>
          </a:xfrm>
        </p:grpSpPr>
        <p:sp>
          <p:nvSpPr>
            <p:cNvPr id="35" name="Rectangle 34">
              <a:extLst>
                <a:ext uri="{FF2B5EF4-FFF2-40B4-BE49-F238E27FC236}">
                  <a16:creationId xmlns:a16="http://schemas.microsoft.com/office/drawing/2014/main" id="{644436C1-BA24-47E4-9D03-432007ED7CDA}"/>
                </a:ext>
              </a:extLst>
            </p:cNvPr>
            <p:cNvSpPr/>
            <p:nvPr/>
          </p:nvSpPr>
          <p:spPr bwMode="auto">
            <a:xfrm>
              <a:off x="2213064" y="2499296"/>
              <a:ext cx="1966530" cy="8820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a:cs typeface="Segoe UI" pitchFamily="34" charset="0"/>
                </a:rPr>
                <a:t>Text</a:t>
              </a:r>
            </a:p>
          </p:txBody>
        </p:sp>
        <p:sp>
          <p:nvSpPr>
            <p:cNvPr id="36" name="Isosceles Triangle 35">
              <a:extLst>
                <a:ext uri="{FF2B5EF4-FFF2-40B4-BE49-F238E27FC236}">
                  <a16:creationId xmlns:a16="http://schemas.microsoft.com/office/drawing/2014/main" id="{7E9963FA-AAE3-4FB1-8A68-D7FE4CFADD82}"/>
                </a:ext>
              </a:extLst>
            </p:cNvPr>
            <p:cNvSpPr/>
            <p:nvPr/>
          </p:nvSpPr>
          <p:spPr bwMode="auto">
            <a:xfrm>
              <a:off x="2326310" y="2326970"/>
              <a:ext cx="324028" cy="172326"/>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896094" fontAlgn="base">
                <a:lnSpc>
                  <a:spcPct val="90000"/>
                </a:lnSpc>
                <a:spcBef>
                  <a:spcPct val="0"/>
                </a:spcBef>
                <a:spcAft>
                  <a:spcPct val="0"/>
                </a:spcAft>
                <a:defRPr/>
              </a:pPr>
              <a:endParaRPr lang="en-US" sz="1345" err="1">
                <a:gradFill>
                  <a:gsLst>
                    <a:gs pos="0">
                      <a:srgbClr val="FFFFFF"/>
                    </a:gs>
                    <a:gs pos="100000">
                      <a:srgbClr val="FFFFFF"/>
                    </a:gs>
                  </a:gsLst>
                  <a:lin ang="5400000" scaled="0"/>
                </a:gradFill>
                <a:latin typeface="Segoe UI Semibold"/>
                <a:cs typeface="Segoe UI" pitchFamily="34" charset="0"/>
              </a:endParaRPr>
            </a:p>
          </p:txBody>
        </p:sp>
      </p:grpSp>
      <p:cxnSp>
        <p:nvCxnSpPr>
          <p:cNvPr id="37" name="Straight Connector 36">
            <a:extLst>
              <a:ext uri="{FF2B5EF4-FFF2-40B4-BE49-F238E27FC236}">
                <a16:creationId xmlns:a16="http://schemas.microsoft.com/office/drawing/2014/main" id="{5A56EE03-9DEB-4DA9-95B0-1E2478865032}"/>
              </a:ext>
            </a:extLst>
          </p:cNvPr>
          <p:cNvCxnSpPr>
            <a:cxnSpLocks/>
          </p:cNvCxnSpPr>
          <p:nvPr userDrawn="1"/>
        </p:nvCxnSpPr>
        <p:spPr>
          <a:xfrm>
            <a:off x="447031" y="3649938"/>
            <a:ext cx="11096413"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51F6C53-B46A-4A3A-A06F-C8227B3BEE47}"/>
              </a:ext>
            </a:extLst>
          </p:cNvPr>
          <p:cNvSpPr txBox="1"/>
          <p:nvPr userDrawn="1"/>
        </p:nvSpPr>
        <p:spPr>
          <a:xfrm>
            <a:off x="437634" y="3410744"/>
            <a:ext cx="213200" cy="177741"/>
          </a:xfrm>
          <a:prstGeom prst="rect">
            <a:avLst/>
          </a:prstGeom>
          <a:noFill/>
        </p:spPr>
        <p:txBody>
          <a:bodyPr wrap="none" lIns="0" tIns="0" rIns="0" bIns="0" rtlCol="0">
            <a:spAutoFit/>
          </a:bodyPr>
          <a:lstStyle/>
          <a:p>
            <a:pPr defTabSz="896354">
              <a:lnSpc>
                <a:spcPts val="1537"/>
              </a:lnSpc>
              <a:spcAft>
                <a:spcPts val="576"/>
              </a:spcAft>
              <a:defRPr/>
            </a:pPr>
            <a:r>
              <a:rPr lang="en-US" sz="1153" b="1">
                <a:solidFill>
                  <a:srgbClr val="008272"/>
                </a:solidFill>
                <a:latin typeface="Segoe UI"/>
              </a:rPr>
              <a:t>‘01</a:t>
            </a:r>
          </a:p>
        </p:txBody>
      </p:sp>
      <p:sp>
        <p:nvSpPr>
          <p:cNvPr id="39" name="TextBox 38">
            <a:extLst>
              <a:ext uri="{FF2B5EF4-FFF2-40B4-BE49-F238E27FC236}">
                <a16:creationId xmlns:a16="http://schemas.microsoft.com/office/drawing/2014/main" id="{128F58CA-31DA-47BC-AAD3-BA15BBBC83E9}"/>
              </a:ext>
            </a:extLst>
          </p:cNvPr>
          <p:cNvSpPr txBox="1"/>
          <p:nvPr userDrawn="1"/>
        </p:nvSpPr>
        <p:spPr>
          <a:xfrm>
            <a:off x="4218561" y="3410744"/>
            <a:ext cx="213200" cy="177741"/>
          </a:xfrm>
          <a:prstGeom prst="rect">
            <a:avLst/>
          </a:prstGeom>
          <a:noFill/>
        </p:spPr>
        <p:txBody>
          <a:bodyPr wrap="none" lIns="0" tIns="0" rIns="0" bIns="0" rtlCol="0">
            <a:spAutoFit/>
          </a:bodyPr>
          <a:lstStyle/>
          <a:p>
            <a:pPr defTabSz="896354">
              <a:lnSpc>
                <a:spcPts val="1537"/>
              </a:lnSpc>
              <a:spcAft>
                <a:spcPts val="576"/>
              </a:spcAft>
              <a:defRPr/>
            </a:pPr>
            <a:r>
              <a:rPr lang="en-US" sz="1153" b="1">
                <a:solidFill>
                  <a:srgbClr val="008272"/>
                </a:solidFill>
                <a:latin typeface="Segoe UI"/>
              </a:rPr>
              <a:t>‘02</a:t>
            </a:r>
          </a:p>
        </p:txBody>
      </p:sp>
      <p:sp>
        <p:nvSpPr>
          <p:cNvPr id="40" name="TextBox 39">
            <a:extLst>
              <a:ext uri="{FF2B5EF4-FFF2-40B4-BE49-F238E27FC236}">
                <a16:creationId xmlns:a16="http://schemas.microsoft.com/office/drawing/2014/main" id="{F4460B0A-140D-417C-BE52-F343948A2F37}"/>
              </a:ext>
            </a:extLst>
          </p:cNvPr>
          <p:cNvSpPr txBox="1"/>
          <p:nvPr userDrawn="1"/>
        </p:nvSpPr>
        <p:spPr>
          <a:xfrm>
            <a:off x="7979410" y="3410744"/>
            <a:ext cx="213200" cy="177741"/>
          </a:xfrm>
          <a:prstGeom prst="rect">
            <a:avLst/>
          </a:prstGeom>
          <a:noFill/>
        </p:spPr>
        <p:txBody>
          <a:bodyPr wrap="none" lIns="0" tIns="0" rIns="0" bIns="0" rtlCol="0">
            <a:spAutoFit/>
          </a:bodyPr>
          <a:lstStyle/>
          <a:p>
            <a:pPr defTabSz="896354">
              <a:lnSpc>
                <a:spcPts val="1537"/>
              </a:lnSpc>
              <a:spcAft>
                <a:spcPts val="576"/>
              </a:spcAft>
              <a:defRPr/>
            </a:pPr>
            <a:r>
              <a:rPr lang="en-US" sz="1153" b="1">
                <a:solidFill>
                  <a:srgbClr val="008272"/>
                </a:solidFill>
                <a:latin typeface="Segoe UI"/>
              </a:rPr>
              <a:t>‘03</a:t>
            </a:r>
          </a:p>
        </p:txBody>
      </p:sp>
    </p:spTree>
    <p:extLst>
      <p:ext uri="{BB962C8B-B14F-4D97-AF65-F5344CB8AC3E}">
        <p14:creationId xmlns:p14="http://schemas.microsoft.com/office/powerpoint/2010/main" val="291203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ext option 4">
    <p:bg>
      <p:bgPr>
        <a:solidFill>
          <a:srgbClr val="008272"/>
        </a:solidFill>
        <a:effectLst/>
      </p:bgPr>
    </p:bg>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60886193-22E1-4BE2-AAB8-0DD28FD1BFB5}"/>
              </a:ext>
            </a:extLst>
          </p:cNvPr>
          <p:cNvSpPr txBox="1"/>
          <p:nvPr userDrawn="1"/>
        </p:nvSpPr>
        <p:spPr>
          <a:xfrm>
            <a:off x="610775" y="2507831"/>
            <a:ext cx="5234094" cy="1324241"/>
          </a:xfrm>
          <a:prstGeom prst="rect">
            <a:avLst/>
          </a:prstGeom>
          <a:noFill/>
        </p:spPr>
        <p:txBody>
          <a:bodyPr wrap="square" rtlCol="0">
            <a:spAutoFit/>
          </a:bodyPr>
          <a:lstStyle/>
          <a:p>
            <a:pPr defTabSz="896196">
              <a:lnSpc>
                <a:spcPts val="3039"/>
              </a:lnSpc>
              <a:defRPr/>
            </a:pPr>
            <a:r>
              <a:rPr lang="en-US" sz="5190" spc="-48">
                <a:ln w="3175">
                  <a:noFill/>
                </a:ln>
                <a:solidFill>
                  <a:srgbClr val="FFFFFF"/>
                </a:solidFill>
                <a:latin typeface="Segoe UI Semibold" panose="020B0702040204020203" pitchFamily="34" charset="0"/>
                <a:cs typeface="Segoe UI Semibold" panose="020B0702040204020203" pitchFamily="34" charset="0"/>
              </a:rPr>
              <a:t>Section</a:t>
            </a:r>
          </a:p>
          <a:p>
            <a:pPr defTabSz="896196">
              <a:lnSpc>
                <a:spcPts val="3039"/>
              </a:lnSpc>
              <a:defRPr/>
            </a:pPr>
            <a:endParaRPr lang="en-US" sz="5190" spc="-48">
              <a:ln w="3175">
                <a:noFill/>
              </a:ln>
              <a:solidFill>
                <a:srgbClr val="FFFFFF"/>
              </a:solidFill>
              <a:latin typeface="Segoe UI Semibold" panose="020B0702040204020203" pitchFamily="34" charset="0"/>
              <a:cs typeface="Segoe UI Semibold" panose="020B0702040204020203" pitchFamily="34" charset="0"/>
            </a:endParaRPr>
          </a:p>
          <a:p>
            <a:pPr defTabSz="896196">
              <a:lnSpc>
                <a:spcPts val="3039"/>
              </a:lnSpc>
              <a:defRPr/>
            </a:pPr>
            <a:r>
              <a:rPr lang="en-US" sz="5190" spc="-48">
                <a:ln w="3175">
                  <a:noFill/>
                </a:ln>
                <a:solidFill>
                  <a:srgbClr val="FFFFFF"/>
                </a:solidFill>
                <a:latin typeface="Segoe UI Semibold" panose="020B0702040204020203" pitchFamily="34" charset="0"/>
                <a:cs typeface="Segoe UI Semibold" panose="020B0702040204020203" pitchFamily="34" charset="0"/>
              </a:rPr>
              <a:t>Title.</a:t>
            </a:r>
          </a:p>
        </p:txBody>
      </p:sp>
      <p:pic>
        <p:nvPicPr>
          <p:cNvPr id="42" name="Picture 41">
            <a:extLst>
              <a:ext uri="{FF2B5EF4-FFF2-40B4-BE49-F238E27FC236}">
                <a16:creationId xmlns:a16="http://schemas.microsoft.com/office/drawing/2014/main" id="{9B3A53B6-DE71-422E-936E-7A0FDB972E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39396" y="2203394"/>
            <a:ext cx="1406426" cy="1495619"/>
          </a:xfrm>
          <a:prstGeom prst="rect">
            <a:avLst/>
          </a:prstGeom>
        </p:spPr>
      </p:pic>
    </p:spTree>
    <p:extLst>
      <p:ext uri="{BB962C8B-B14F-4D97-AF65-F5344CB8AC3E}">
        <p14:creationId xmlns:p14="http://schemas.microsoft.com/office/powerpoint/2010/main" val="377083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9_Text option 4">
    <p:bg>
      <p:bgPr>
        <a:solidFill>
          <a:srgbClr val="00827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6F6449F-FBE6-49AB-BD94-F4E7E9CA1AD3}"/>
              </a:ext>
            </a:extLst>
          </p:cNvPr>
          <p:cNvSpPr txBox="1"/>
          <p:nvPr userDrawn="1"/>
        </p:nvSpPr>
        <p:spPr>
          <a:xfrm>
            <a:off x="610775" y="2507831"/>
            <a:ext cx="5234094" cy="535342"/>
          </a:xfrm>
          <a:prstGeom prst="rect">
            <a:avLst/>
          </a:prstGeom>
          <a:noFill/>
        </p:spPr>
        <p:txBody>
          <a:bodyPr wrap="square" rtlCol="0">
            <a:spAutoFit/>
          </a:bodyPr>
          <a:lstStyle/>
          <a:p>
            <a:pPr defTabSz="896196">
              <a:lnSpc>
                <a:spcPts val="3039"/>
              </a:lnSpc>
              <a:defRPr/>
            </a:pPr>
            <a:r>
              <a:rPr lang="en-US" sz="5190" spc="-48">
                <a:ln w="3175">
                  <a:noFill/>
                </a:ln>
                <a:solidFill>
                  <a:srgbClr val="FFFFFF"/>
                </a:solidFill>
                <a:latin typeface="Segoe UI Semibold" panose="020B0702040204020203" pitchFamily="34" charset="0"/>
                <a:cs typeface="Segoe UI Semibold" panose="020B0702040204020203" pitchFamily="34" charset="0"/>
              </a:rPr>
              <a:t>Video</a:t>
            </a:r>
          </a:p>
        </p:txBody>
      </p:sp>
      <p:pic>
        <p:nvPicPr>
          <p:cNvPr id="5" name="Picture 4">
            <a:extLst>
              <a:ext uri="{FF2B5EF4-FFF2-40B4-BE49-F238E27FC236}">
                <a16:creationId xmlns:a16="http://schemas.microsoft.com/office/drawing/2014/main" id="{4326EE76-4B3B-463D-B7BF-22C7EAD584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2925799" y="2075155"/>
            <a:ext cx="1204661" cy="1204832"/>
          </a:xfrm>
          <a:prstGeom prst="rect">
            <a:avLst/>
          </a:prstGeom>
        </p:spPr>
      </p:pic>
    </p:spTree>
    <p:extLst>
      <p:ext uri="{BB962C8B-B14F-4D97-AF65-F5344CB8AC3E}">
        <p14:creationId xmlns:p14="http://schemas.microsoft.com/office/powerpoint/2010/main" val="195536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0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Business </a:t>
            </a:r>
            <a:br>
              <a:rPr lang="en-US"/>
            </a:br>
            <a:r>
              <a:rPr lang="en-US"/>
              <a:t>Central.</a:t>
            </a:r>
            <a:br>
              <a:rPr lang="en-US"/>
            </a:br>
            <a:endParaRPr lang="en-US"/>
          </a:p>
        </p:txBody>
      </p:sp>
      <p:pic>
        <p:nvPicPr>
          <p:cNvPr id="9" name="Picture 8">
            <a:extLst>
              <a:ext uri="{FF2B5EF4-FFF2-40B4-BE49-F238E27FC236}">
                <a16:creationId xmlns:a16="http://schemas.microsoft.com/office/drawing/2014/main" id="{CE6D4A1E-1A9C-4D41-B39C-6D5CDC6D54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5021" y="2333259"/>
            <a:ext cx="905405" cy="905532"/>
          </a:xfrm>
          <a:prstGeom prst="rect">
            <a:avLst/>
          </a:prstGeom>
        </p:spPr>
      </p:pic>
    </p:spTree>
    <p:extLst>
      <p:ext uri="{BB962C8B-B14F-4D97-AF65-F5344CB8AC3E}">
        <p14:creationId xmlns:p14="http://schemas.microsoft.com/office/powerpoint/2010/main" val="127050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1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Customer</a:t>
            </a:r>
            <a:br>
              <a:rPr lang="en-US"/>
            </a:br>
            <a:r>
              <a:rPr lang="en-US"/>
              <a:t>Service.</a:t>
            </a:r>
            <a:br>
              <a:rPr lang="en-US"/>
            </a:br>
            <a:endParaRPr lang="en-US"/>
          </a:p>
        </p:txBody>
      </p:sp>
      <p:pic>
        <p:nvPicPr>
          <p:cNvPr id="4" name="Picture 3">
            <a:extLst>
              <a:ext uri="{FF2B5EF4-FFF2-40B4-BE49-F238E27FC236}">
                <a16:creationId xmlns:a16="http://schemas.microsoft.com/office/drawing/2014/main" id="{1D4A81C5-666A-487B-81DE-30C830EBAE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21645" y="2333260"/>
            <a:ext cx="683310" cy="931142"/>
          </a:xfrm>
          <a:prstGeom prst="rect">
            <a:avLst/>
          </a:prstGeom>
        </p:spPr>
      </p:pic>
    </p:spTree>
    <p:extLst>
      <p:ext uri="{BB962C8B-B14F-4D97-AF65-F5344CB8AC3E}">
        <p14:creationId xmlns:p14="http://schemas.microsoft.com/office/powerpoint/2010/main" val="229309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2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Field</a:t>
            </a:r>
            <a:br>
              <a:rPr lang="en-US"/>
            </a:br>
            <a:r>
              <a:rPr lang="en-US"/>
              <a:t>Service.</a:t>
            </a:r>
            <a:br>
              <a:rPr lang="en-US"/>
            </a:br>
            <a:endParaRPr lang="en-US"/>
          </a:p>
        </p:txBody>
      </p:sp>
      <p:pic>
        <p:nvPicPr>
          <p:cNvPr id="4" name="Picture 3">
            <a:extLst>
              <a:ext uri="{FF2B5EF4-FFF2-40B4-BE49-F238E27FC236}">
                <a16:creationId xmlns:a16="http://schemas.microsoft.com/office/drawing/2014/main" id="{7B2BC08F-991A-4AC0-A7C2-F6E7E12758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1108771" y="2333260"/>
            <a:ext cx="1065525" cy="781494"/>
          </a:xfrm>
          <a:prstGeom prst="rect">
            <a:avLst/>
          </a:prstGeom>
        </p:spPr>
      </p:pic>
    </p:spTree>
    <p:extLst>
      <p:ext uri="{BB962C8B-B14F-4D97-AF65-F5344CB8AC3E}">
        <p14:creationId xmlns:p14="http://schemas.microsoft.com/office/powerpoint/2010/main" val="1486313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3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Finance.</a:t>
            </a:r>
            <a:br>
              <a:rPr lang="en-US"/>
            </a:br>
            <a:endParaRPr lang="en-US"/>
          </a:p>
        </p:txBody>
      </p:sp>
      <p:pic>
        <p:nvPicPr>
          <p:cNvPr id="4" name="Picture 3">
            <a:extLst>
              <a:ext uri="{FF2B5EF4-FFF2-40B4-BE49-F238E27FC236}">
                <a16:creationId xmlns:a16="http://schemas.microsoft.com/office/drawing/2014/main" id="{FF367ABE-601E-49FC-B025-00DEDF70EA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6331" y="2333260"/>
            <a:ext cx="847966" cy="848086"/>
          </a:xfrm>
          <a:prstGeom prst="rect">
            <a:avLst/>
          </a:prstGeom>
        </p:spPr>
      </p:pic>
    </p:spTree>
    <p:extLst>
      <p:ext uri="{BB962C8B-B14F-4D97-AF65-F5344CB8AC3E}">
        <p14:creationId xmlns:p14="http://schemas.microsoft.com/office/powerpoint/2010/main" val="612465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4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Marketing.</a:t>
            </a:r>
            <a:br>
              <a:rPr lang="en-US"/>
            </a:br>
            <a:endParaRPr lang="en-US"/>
          </a:p>
        </p:txBody>
      </p:sp>
      <p:pic>
        <p:nvPicPr>
          <p:cNvPr id="4" name="Picture 3">
            <a:extLst>
              <a:ext uri="{FF2B5EF4-FFF2-40B4-BE49-F238E27FC236}">
                <a16:creationId xmlns:a16="http://schemas.microsoft.com/office/drawing/2014/main" id="{22BAF405-1BB2-4BF1-BAE3-E5973B0D9E4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3411" y="2333260"/>
            <a:ext cx="1040885" cy="764301"/>
          </a:xfrm>
          <a:prstGeom prst="rect">
            <a:avLst/>
          </a:prstGeom>
        </p:spPr>
      </p:pic>
    </p:spTree>
    <p:extLst>
      <p:ext uri="{BB962C8B-B14F-4D97-AF65-F5344CB8AC3E}">
        <p14:creationId xmlns:p14="http://schemas.microsoft.com/office/powerpoint/2010/main" val="163673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5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Project.</a:t>
            </a:r>
            <a:br>
              <a:rPr lang="en-US"/>
            </a:br>
            <a:endParaRPr lang="en-US"/>
          </a:p>
        </p:txBody>
      </p:sp>
      <p:pic>
        <p:nvPicPr>
          <p:cNvPr id="4" name="Picture 3">
            <a:extLst>
              <a:ext uri="{FF2B5EF4-FFF2-40B4-BE49-F238E27FC236}">
                <a16:creationId xmlns:a16="http://schemas.microsoft.com/office/drawing/2014/main" id="{D9CDB200-6DC6-47C1-B9F5-2CA7E6F5B84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553" y="2333260"/>
            <a:ext cx="852147" cy="852268"/>
          </a:xfrm>
          <a:prstGeom prst="rect">
            <a:avLst/>
          </a:prstGeom>
        </p:spPr>
      </p:pic>
    </p:spTree>
    <p:extLst>
      <p:ext uri="{BB962C8B-B14F-4D97-AF65-F5344CB8AC3E}">
        <p14:creationId xmlns:p14="http://schemas.microsoft.com/office/powerpoint/2010/main" val="2924522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F3A365FB-47E5-4895-AE9F-E47CC61B8634}"/>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5873373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6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Retail.</a:t>
            </a:r>
            <a:br>
              <a:rPr lang="en-US"/>
            </a:br>
            <a:endParaRPr lang="en-US"/>
          </a:p>
        </p:txBody>
      </p:sp>
      <p:pic>
        <p:nvPicPr>
          <p:cNvPr id="4" name="Picture 3">
            <a:extLst>
              <a:ext uri="{FF2B5EF4-FFF2-40B4-BE49-F238E27FC236}">
                <a16:creationId xmlns:a16="http://schemas.microsoft.com/office/drawing/2014/main" id="{504A2575-98FC-40A9-BAE4-3A41754CDF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66932" y="2333260"/>
            <a:ext cx="807364" cy="864341"/>
          </a:xfrm>
          <a:prstGeom prst="rect">
            <a:avLst/>
          </a:prstGeom>
        </p:spPr>
      </p:pic>
    </p:spTree>
    <p:extLst>
      <p:ext uri="{BB962C8B-B14F-4D97-AF65-F5344CB8AC3E}">
        <p14:creationId xmlns:p14="http://schemas.microsoft.com/office/powerpoint/2010/main" val="598335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7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Sales.</a:t>
            </a:r>
            <a:br>
              <a:rPr lang="en-US"/>
            </a:br>
            <a:endParaRPr lang="en-US"/>
          </a:p>
        </p:txBody>
      </p:sp>
      <p:pic>
        <p:nvPicPr>
          <p:cNvPr id="4" name="Picture 3">
            <a:extLst>
              <a:ext uri="{FF2B5EF4-FFF2-40B4-BE49-F238E27FC236}">
                <a16:creationId xmlns:a16="http://schemas.microsoft.com/office/drawing/2014/main" id="{3BBCD041-248B-47F5-96BC-8F12A18C2A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31968" y="2333260"/>
            <a:ext cx="839596" cy="839715"/>
          </a:xfrm>
          <a:prstGeom prst="rect">
            <a:avLst/>
          </a:prstGeom>
        </p:spPr>
      </p:pic>
    </p:spTree>
    <p:extLst>
      <p:ext uri="{BB962C8B-B14F-4D97-AF65-F5344CB8AC3E}">
        <p14:creationId xmlns:p14="http://schemas.microsoft.com/office/powerpoint/2010/main" val="3228444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8_Text option 4">
    <p:bg>
      <p:bgRef idx="1001">
        <a:schemeClr val="bg1"/>
      </p:bgRef>
    </p:bg>
    <p:spTree>
      <p:nvGrpSpPr>
        <p:cNvPr id="1" name=""/>
        <p:cNvGrpSpPr/>
        <p:nvPr/>
      </p:nvGrpSpPr>
      <p:grpSpPr>
        <a:xfrm>
          <a:off x="0" y="0"/>
          <a:ext cx="0" cy="0"/>
          <a:chOff x="0" y="0"/>
          <a:chExt cx="0" cy="0"/>
        </a:xfrm>
      </p:grpSpPr>
      <p:sp>
        <p:nvSpPr>
          <p:cNvPr id="8" name="Title 15">
            <a:extLst>
              <a:ext uri="{FF2B5EF4-FFF2-40B4-BE49-F238E27FC236}">
                <a16:creationId xmlns:a16="http://schemas.microsoft.com/office/drawing/2014/main" id="{690304DB-3A5B-4D19-B93A-7612EC3F5ED6}"/>
              </a:ext>
            </a:extLst>
          </p:cNvPr>
          <p:cNvSpPr>
            <a:spLocks noGrp="1"/>
          </p:cNvSpPr>
          <p:nvPr>
            <p:ph type="title" hasCustomPrompt="1"/>
          </p:nvPr>
        </p:nvSpPr>
        <p:spPr>
          <a:xfrm>
            <a:off x="2469937"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Demo</a:t>
            </a:r>
            <a:br>
              <a:rPr lang="en-US"/>
            </a:br>
            <a:r>
              <a:rPr lang="en-US"/>
              <a:t>Talent.</a:t>
            </a:r>
            <a:br>
              <a:rPr lang="en-US"/>
            </a:br>
            <a:endParaRPr lang="en-US"/>
          </a:p>
        </p:txBody>
      </p:sp>
      <p:pic>
        <p:nvPicPr>
          <p:cNvPr id="4" name="Picture 3">
            <a:extLst>
              <a:ext uri="{FF2B5EF4-FFF2-40B4-BE49-F238E27FC236}">
                <a16:creationId xmlns:a16="http://schemas.microsoft.com/office/drawing/2014/main" id="{065A7F46-AAA4-421C-9545-F87D7F00F0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79802" y="2333260"/>
            <a:ext cx="672654" cy="717175"/>
          </a:xfrm>
          <a:prstGeom prst="rect">
            <a:avLst/>
          </a:prstGeom>
        </p:spPr>
      </p:pic>
    </p:spTree>
    <p:extLst>
      <p:ext uri="{BB962C8B-B14F-4D97-AF65-F5344CB8AC3E}">
        <p14:creationId xmlns:p14="http://schemas.microsoft.com/office/powerpoint/2010/main" val="1186065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9_Text option 4">
    <p:bg>
      <p:bgRef idx="1001">
        <a:schemeClr val="bg1"/>
      </p:bgRef>
    </p:bg>
    <p:spTree>
      <p:nvGrpSpPr>
        <p:cNvPr id="1" name=""/>
        <p:cNvGrpSpPr/>
        <p:nvPr/>
      </p:nvGrpSpPr>
      <p:grpSpPr>
        <a:xfrm>
          <a:off x="0" y="0"/>
          <a:ext cx="0" cy="0"/>
          <a:chOff x="0" y="0"/>
          <a:chExt cx="0" cy="0"/>
        </a:xfrm>
      </p:grpSpPr>
      <p:sp>
        <p:nvSpPr>
          <p:cNvPr id="4" name="Title 15">
            <a:extLst>
              <a:ext uri="{FF2B5EF4-FFF2-40B4-BE49-F238E27FC236}">
                <a16:creationId xmlns:a16="http://schemas.microsoft.com/office/drawing/2014/main" id="{2CE014B1-3082-4710-974E-C629FE38A837}"/>
              </a:ext>
            </a:extLst>
          </p:cNvPr>
          <p:cNvSpPr>
            <a:spLocks noGrp="1"/>
          </p:cNvSpPr>
          <p:nvPr>
            <p:ph type="title"/>
          </p:nvPr>
        </p:nvSpPr>
        <p:spPr>
          <a:xfrm>
            <a:off x="2221219" y="2363851"/>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Q&amp;A</a:t>
            </a:r>
          </a:p>
        </p:txBody>
      </p:sp>
      <p:pic>
        <p:nvPicPr>
          <p:cNvPr id="5" name="Picture 4">
            <a:extLst>
              <a:ext uri="{FF2B5EF4-FFF2-40B4-BE49-F238E27FC236}">
                <a16:creationId xmlns:a16="http://schemas.microsoft.com/office/drawing/2014/main" id="{6F75F56A-9752-4F88-B2FB-3116487DA4E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0996" y="2101248"/>
            <a:ext cx="971995" cy="970167"/>
          </a:xfrm>
          <a:prstGeom prst="rect">
            <a:avLst/>
          </a:prstGeom>
        </p:spPr>
      </p:pic>
    </p:spTree>
    <p:extLst>
      <p:ext uri="{BB962C8B-B14F-4D97-AF65-F5344CB8AC3E}">
        <p14:creationId xmlns:p14="http://schemas.microsoft.com/office/powerpoint/2010/main" val="7956721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0_Text option 4">
    <p:bg>
      <p:bgRef idx="1001">
        <a:schemeClr val="bg1"/>
      </p:bgRef>
    </p:bg>
    <p:spTree>
      <p:nvGrpSpPr>
        <p:cNvPr id="1" name=""/>
        <p:cNvGrpSpPr/>
        <p:nvPr/>
      </p:nvGrpSpPr>
      <p:grpSpPr>
        <a:xfrm>
          <a:off x="0" y="0"/>
          <a:ext cx="0" cy="0"/>
          <a:chOff x="0" y="0"/>
          <a:chExt cx="0" cy="0"/>
        </a:xfrm>
      </p:grpSpPr>
      <p:sp>
        <p:nvSpPr>
          <p:cNvPr id="4" name="Title 15">
            <a:extLst>
              <a:ext uri="{FF2B5EF4-FFF2-40B4-BE49-F238E27FC236}">
                <a16:creationId xmlns:a16="http://schemas.microsoft.com/office/drawing/2014/main" id="{30569D9C-C8E1-4D16-802F-5AE5C0391029}"/>
              </a:ext>
            </a:extLst>
          </p:cNvPr>
          <p:cNvSpPr>
            <a:spLocks noGrp="1"/>
          </p:cNvSpPr>
          <p:nvPr>
            <p:ph type="title"/>
          </p:nvPr>
        </p:nvSpPr>
        <p:spPr>
          <a:xfrm>
            <a:off x="2322116" y="2333259"/>
            <a:ext cx="7308100" cy="444962"/>
          </a:xfrm>
        </p:spPr>
        <p:txBody>
          <a:bodyPr/>
          <a:lstStyle>
            <a:lvl1pPr>
              <a:defRPr lang="en-US" sz="4612" b="0" kern="1200" cap="none" spc="-48" baseline="0" dirty="0">
                <a:ln w="3175">
                  <a:noFill/>
                </a:ln>
                <a:solidFill>
                  <a:schemeClr val="accent5"/>
                </a:solidFill>
                <a:effectLst/>
                <a:latin typeface="+mj-lt"/>
                <a:ea typeface="+mn-ea"/>
                <a:cs typeface="Segoe UI" pitchFamily="34" charset="0"/>
              </a:defRPr>
            </a:lvl1pPr>
          </a:lstStyle>
          <a:p>
            <a:r>
              <a:rPr lang="en-US"/>
              <a:t>Appendix</a:t>
            </a:r>
          </a:p>
        </p:txBody>
      </p:sp>
      <p:pic>
        <p:nvPicPr>
          <p:cNvPr id="5" name="Picture 4">
            <a:extLst>
              <a:ext uri="{FF2B5EF4-FFF2-40B4-BE49-F238E27FC236}">
                <a16:creationId xmlns:a16="http://schemas.microsoft.com/office/drawing/2014/main" id="{894B7653-104C-4E05-A1DC-9084CF65EC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162" y="2138219"/>
            <a:ext cx="740573" cy="982631"/>
          </a:xfrm>
          <a:prstGeom prst="rect">
            <a:avLst/>
          </a:prstGeom>
        </p:spPr>
      </p:pic>
    </p:spTree>
    <p:extLst>
      <p:ext uri="{BB962C8B-B14F-4D97-AF65-F5344CB8AC3E}">
        <p14:creationId xmlns:p14="http://schemas.microsoft.com/office/powerpoint/2010/main" val="2742335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1_Text option 4">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84684DE-DFDF-4623-B07B-5271687D5715}"/>
              </a:ext>
            </a:extLst>
          </p:cNvPr>
          <p:cNvSpPr>
            <a:spLocks noGrp="1"/>
          </p:cNvSpPr>
          <p:nvPr>
            <p:ph type="title" hasCustomPrompt="1"/>
          </p:nvPr>
        </p:nvSpPr>
        <p:spPr>
          <a:xfrm>
            <a:off x="447031" y="1809259"/>
            <a:ext cx="7308101" cy="1444637"/>
          </a:xfrm>
          <a:noFill/>
        </p:spPr>
        <p:txBody>
          <a:bodyPr lIns="0" tIns="0" rIns="0" bIns="0" anchor="t" anchorCtr="0"/>
          <a:lstStyle>
            <a:lvl1pPr>
              <a:lnSpc>
                <a:spcPct val="100000"/>
              </a:lnSpc>
              <a:spcAft>
                <a:spcPts val="1249"/>
              </a:spcAft>
              <a:defRPr sz="2499" spc="-48" baseline="0">
                <a:solidFill>
                  <a:schemeClr val="accent5"/>
                </a:solidFill>
              </a:defRPr>
            </a:lvl1pPr>
          </a:lstStyle>
          <a:p>
            <a:r>
              <a:rPr lang="en-US"/>
              <a:t>Thank </a:t>
            </a:r>
            <a:br>
              <a:rPr lang="en-US"/>
            </a:br>
            <a:r>
              <a:rPr lang="en-US"/>
              <a:t>you.</a:t>
            </a:r>
          </a:p>
        </p:txBody>
      </p:sp>
      <p:pic>
        <p:nvPicPr>
          <p:cNvPr id="7" name="Picture 6">
            <a:extLst>
              <a:ext uri="{FF2B5EF4-FFF2-40B4-BE49-F238E27FC236}">
                <a16:creationId xmlns:a16="http://schemas.microsoft.com/office/drawing/2014/main" id="{4C1EE5AB-BA5C-4C98-B89B-B143705996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8857" y="252151"/>
            <a:ext cx="2221760" cy="558081"/>
          </a:xfrm>
          <a:prstGeom prst="rect">
            <a:avLst/>
          </a:prstGeom>
        </p:spPr>
      </p:pic>
    </p:spTree>
    <p:extLst>
      <p:ext uri="{BB962C8B-B14F-4D97-AF65-F5344CB8AC3E}">
        <p14:creationId xmlns:p14="http://schemas.microsoft.com/office/powerpoint/2010/main" val="26832269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a:prstGeom prst="rect">
            <a:avLst/>
          </a:prstGeo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8"/>
            <a:ext cx="9144000" cy="553998"/>
          </a:xfrm>
          <a:prstGeom prst="rect">
            <a:avLst/>
          </a:prstGeom>
        </p:spPr>
        <p:txBody>
          <a:bodyPr/>
          <a:lstStyle>
            <a:lvl1pPr marL="0" indent="0" algn="ctr">
              <a:buNone/>
              <a:defRPr sz="2400"/>
            </a:lvl1pPr>
            <a:lvl2pPr marL="457015" indent="0" algn="ctr">
              <a:buNone/>
              <a:defRPr sz="2000"/>
            </a:lvl2pPr>
            <a:lvl3pPr marL="914031" indent="0" algn="ctr">
              <a:buNone/>
              <a:defRPr sz="1800"/>
            </a:lvl3pPr>
            <a:lvl4pPr marL="1371046" indent="0" algn="ctr">
              <a:buNone/>
              <a:defRPr sz="1600"/>
            </a:lvl4pPr>
            <a:lvl5pPr marL="1828061" indent="0" algn="ctr">
              <a:buNone/>
              <a:defRPr sz="1600"/>
            </a:lvl5pPr>
            <a:lvl6pPr marL="2285078" indent="0" algn="ctr">
              <a:buNone/>
              <a:defRPr sz="1600"/>
            </a:lvl6pPr>
            <a:lvl7pPr marL="2742093" indent="0" algn="ctr">
              <a:buNone/>
              <a:defRPr sz="1600"/>
            </a:lvl7pPr>
            <a:lvl8pPr marL="3199108" indent="0" algn="ctr">
              <a:buNone/>
              <a:defRPr sz="1600"/>
            </a:lvl8pPr>
            <a:lvl9pPr marL="365612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fld id="{3084F08C-6F01-6A4C-B294-3ECE791EB5DB}" type="datetimeFigureOut">
              <a:rPr lang="en-US" smtClean="0"/>
              <a:t>12/8/2020</a:t>
            </a:fld>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6E980BC9-D4EE-6645-92F8-1E303DC3E82D}" type="slidenum">
              <a:rPr lang="en-US" smtClean="0"/>
              <a:t>‹#›</a:t>
            </a:fld>
            <a:endParaRPr lang="en-US"/>
          </a:p>
        </p:txBody>
      </p:sp>
    </p:spTree>
    <p:extLst>
      <p:ext uri="{BB962C8B-B14F-4D97-AF65-F5344CB8AC3E}">
        <p14:creationId xmlns:p14="http://schemas.microsoft.com/office/powerpoint/2010/main" val="3612415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0648C3-B6B5-43D8-A549-8CC24B9246A1}"/>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3" name="Footer Placeholder 2">
            <a:extLst>
              <a:ext uri="{FF2B5EF4-FFF2-40B4-BE49-F238E27FC236}">
                <a16:creationId xmlns:a16="http://schemas.microsoft.com/office/drawing/2014/main" id="{5749EAA8-53B6-4721-B792-99C52C2B800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D9AB253-23A0-4706-AF7D-FF654D1962BB}"/>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55633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73951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02766885"/>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B5982315-A7D4-4386-BB5A-1752396D1B9B}"/>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9155053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564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4" cy="661629"/>
          </a:xfrm>
        </p:spPr>
        <p:txBody>
          <a:bodyPr wrap="square">
            <a:spAutoFit/>
          </a:bodyPr>
          <a:lstStyle>
            <a:lvl1pPr>
              <a:defRPr kumimoji="0" lang="en-US" sz="3600" b="0" i="0" u="none" strike="noStrike" kern="1200" cap="none" spc="-50"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16515929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title="Microsoft brand photo">
            <a:extLst>
              <a:ext uri="{FF2B5EF4-FFF2-40B4-BE49-F238E27FC236}">
                <a16:creationId xmlns:a16="http://schemas.microsoft.com/office/drawing/2014/main" id="{CD9B38DE-AD18-4C55-BA2E-C54CD539B3D1}"/>
              </a:ext>
            </a:extLst>
          </p:cNvPr>
          <p:cNvPicPr>
            <a:picLocks noChangeAspect="1"/>
          </p:cNvPicPr>
          <p:nvPr userDrawn="1"/>
        </p:nvPicPr>
        <p:blipFill rotWithShape="1">
          <a:blip r:embed="rId3"/>
          <a:srcRect l="18641" t="2962" r="18641" b="2962"/>
          <a:stretch/>
        </p:blipFill>
        <p:spPr>
          <a:xfrm>
            <a:off x="5334000" y="0"/>
            <a:ext cx="6858000" cy="6858000"/>
          </a:xfrm>
          <a:prstGeom prst="rect">
            <a:avLst/>
          </a:prstGeom>
        </p:spPr>
      </p:pic>
    </p:spTree>
    <p:extLst>
      <p:ext uri="{BB962C8B-B14F-4D97-AF65-F5344CB8AC3E}">
        <p14:creationId xmlns:p14="http://schemas.microsoft.com/office/powerpoint/2010/main" val="562199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title="Microsoft brand photo">
            <a:extLst>
              <a:ext uri="{FF2B5EF4-FFF2-40B4-BE49-F238E27FC236}">
                <a16:creationId xmlns:a16="http://schemas.microsoft.com/office/drawing/2014/main" id="{FF7D64B6-EB4C-4EAF-89E7-48E6D7B5EB89}"/>
              </a:ext>
            </a:extLst>
          </p:cNvPr>
          <p:cNvPicPr>
            <a:picLocks noChangeAspect="1"/>
          </p:cNvPicPr>
          <p:nvPr userDrawn="1"/>
        </p:nvPicPr>
        <p:blipFill rotWithShape="1">
          <a:blip r:embed="rId3"/>
          <a:srcRect l="18641" t="2962" r="18641" b="2962"/>
          <a:stretch/>
        </p:blipFill>
        <p:spPr>
          <a:xfrm>
            <a:off x="5334000" y="0"/>
            <a:ext cx="6858000" cy="6858000"/>
          </a:xfrm>
          <a:prstGeom prst="rect">
            <a:avLst/>
          </a:prstGeom>
        </p:spPr>
      </p:pic>
    </p:spTree>
    <p:extLst>
      <p:ext uri="{BB962C8B-B14F-4D97-AF65-F5344CB8AC3E}">
        <p14:creationId xmlns:p14="http://schemas.microsoft.com/office/powerpoint/2010/main" val="1778834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51979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65343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692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7594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78396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785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D1A1E258-E9D7-4A14-A069-C657C734E214}"/>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2132796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3899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2776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0066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33110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74744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4475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2560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21710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95964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62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51A2F44A-0AAD-43EA-AEA4-B7D40D544B7D}"/>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702673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7333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lumMod val="100000"/>
                  </a:schemeClr>
                </a:solidFill>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15468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60927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886670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3973351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ver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962C14-A286-2547-960B-66CAB229FE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4"/>
          <a:stretch/>
        </p:blipFill>
        <p:spPr>
          <a:xfrm flipH="1">
            <a:off x="4224063" y="1903"/>
            <a:ext cx="7967937" cy="6856097"/>
          </a:xfrm>
          <a:prstGeom prst="rect">
            <a:avLst/>
          </a:prstGeom>
        </p:spPr>
      </p:pic>
      <p:sp>
        <p:nvSpPr>
          <p:cNvPr id="7" name="Rectangle 6">
            <a:extLst>
              <a:ext uri="{FF2B5EF4-FFF2-40B4-BE49-F238E27FC236}">
                <a16:creationId xmlns:a16="http://schemas.microsoft.com/office/drawing/2014/main" id="{02F42B71-0F16-AE41-9E17-BADFFCA8B514}"/>
              </a:ext>
            </a:extLst>
          </p:cNvPr>
          <p:cNvSpPr/>
          <p:nvPr userDrawn="1"/>
        </p:nvSpPr>
        <p:spPr bwMode="auto">
          <a:xfrm>
            <a:off x="3232562" y="0"/>
            <a:ext cx="1983001" cy="40080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68047" y="2532448"/>
            <a:ext cx="552795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511039"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36976386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guide id="5" pos="2717">
          <p15:clr>
            <a:srgbClr val="FBAE40"/>
          </p15:clr>
        </p15:guide>
        <p15:guide id="6" pos="39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 Black">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59E104C-E137-524A-AB18-12B072A7B94A}"/>
              </a:ext>
            </a:extLst>
          </p:cNvPr>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2" name="Text Placeholder 7">
            <a:extLst>
              <a:ext uri="{FF2B5EF4-FFF2-40B4-BE49-F238E27FC236}">
                <a16:creationId xmlns:a16="http://schemas.microsoft.com/office/drawing/2014/main" id="{44C37BE0-FE7C-A842-83B8-80F14999818F}"/>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3" name="Picture 12">
            <a:extLst>
              <a:ext uri="{FF2B5EF4-FFF2-40B4-BE49-F238E27FC236}">
                <a16:creationId xmlns:a16="http://schemas.microsoft.com/office/drawing/2014/main" id="{D25CA05A-4BDF-B844-A7E3-DD535C4E59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3867768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747">
          <p15:clr>
            <a:srgbClr val="FBAE40"/>
          </p15:clr>
        </p15:guide>
        <p15:guide id="2" orient="horz" pos="2563">
          <p15:clr>
            <a:srgbClr val="FBAE40"/>
          </p15:clr>
        </p15:guide>
        <p15:guide id="3" orient="horz" pos="2899">
          <p15:clr>
            <a:srgbClr val="FBAE40"/>
          </p15:clr>
        </p15:guide>
        <p15:guide id="4" orient="horz" pos="309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hot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4"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4" name="Picture 13">
            <a:extLst>
              <a:ext uri="{FF2B5EF4-FFF2-40B4-BE49-F238E27FC236}">
                <a16:creationId xmlns:a16="http://schemas.microsoft.com/office/drawing/2014/main" id="{149C5BA3-A64B-E340-8993-D5F213036F6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216720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27522C0-C4FD-6942-B3E0-EBB33E94A0DD}"/>
              </a:ext>
            </a:extLst>
          </p:cNvPr>
          <p:cNvSpPr>
            <a:spLocks noGrp="1"/>
          </p:cNvSpPr>
          <p:nvPr>
            <p:ph type="title"/>
          </p:nvPr>
        </p:nvSpPr>
        <p:spPr>
          <a:xfrm>
            <a:off x="568047" y="676680"/>
            <a:ext cx="11055906" cy="739343"/>
          </a:xfrm>
        </p:spPr>
        <p:txBody>
          <a:bodyPr/>
          <a:lstStyle>
            <a:lvl1pPr algn="ctr">
              <a:lnSpc>
                <a:spcPct val="100000"/>
              </a:lnSpc>
              <a:defRPr sz="3137"/>
            </a:lvl1pPr>
          </a:lstStyle>
          <a:p>
            <a:r>
              <a:rPr lang="en-US"/>
              <a:t>Table layout</a:t>
            </a:r>
          </a:p>
        </p:txBody>
      </p:sp>
      <p:graphicFrame>
        <p:nvGraphicFramePr>
          <p:cNvPr id="4" name="Table Placeholder 6">
            <a:extLst>
              <a:ext uri="{FF2B5EF4-FFF2-40B4-BE49-F238E27FC236}">
                <a16:creationId xmlns:a16="http://schemas.microsoft.com/office/drawing/2014/main" id="{FBE54ACA-851F-F84D-BB98-CC4BB2911437}"/>
              </a:ext>
            </a:extLst>
          </p:cNvPr>
          <p:cNvGraphicFramePr>
            <a:graphicFrameLocks/>
          </p:cNvGraphicFramePr>
          <p:nvPr userDrawn="1"/>
        </p:nvGraphicFramePr>
        <p:xfrm>
          <a:off x="875055" y="1539363"/>
          <a:ext cx="10441889" cy="4078100"/>
        </p:xfrm>
        <a:graphic>
          <a:graphicData uri="http://schemas.openxmlformats.org/drawingml/2006/table">
            <a:tbl>
              <a:tblPr firstRow="1" bandRow="1">
                <a:tableStyleId>{5C22544A-7EE6-4342-B048-85BDC9FD1C3A}</a:tableStyleId>
              </a:tblPr>
              <a:tblGrid>
                <a:gridCol w="1943587">
                  <a:extLst>
                    <a:ext uri="{9D8B030D-6E8A-4147-A177-3AD203B41FA5}">
                      <a16:colId xmlns:a16="http://schemas.microsoft.com/office/drawing/2014/main" val="1402458918"/>
                    </a:ext>
                  </a:extLst>
                </a:gridCol>
                <a:gridCol w="8498302">
                  <a:extLst>
                    <a:ext uri="{9D8B030D-6E8A-4147-A177-3AD203B41FA5}">
                      <a16:colId xmlns:a16="http://schemas.microsoft.com/office/drawing/2014/main" val="1740729941"/>
                    </a:ext>
                  </a:extLst>
                </a:gridCol>
              </a:tblGrid>
              <a:tr h="690370">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1962828"/>
                  </a:ext>
                </a:extLst>
              </a:tr>
              <a:tr h="628574">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lumMod val="90000"/>
                              <a:lumOff val="10000"/>
                            </a:srgbClr>
                          </a:solidFill>
                          <a:effectLst/>
                          <a:uLnTx/>
                          <a:uFillTx/>
                          <a:latin typeface="Segoe UI Semibold"/>
                          <a:ea typeface="+mn-ea"/>
                          <a:cs typeface="+mn-cs"/>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2142428"/>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8074237"/>
                  </a:ext>
                </a:extLst>
              </a:tr>
              <a:tr h="87343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076910"/>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99449"/>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5756644"/>
                  </a:ext>
                </a:extLst>
              </a:tr>
            </a:tbl>
          </a:graphicData>
        </a:graphic>
      </p:graphicFrame>
    </p:spTree>
    <p:extLst>
      <p:ext uri="{BB962C8B-B14F-4D97-AF65-F5344CB8AC3E}">
        <p14:creationId xmlns:p14="http://schemas.microsoft.com/office/powerpoint/2010/main" val="1956721236"/>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gray">
    <p:bg>
      <p:bgPr>
        <a:gradFill>
          <a:gsLst>
            <a:gs pos="0">
              <a:schemeClr val="accent6">
                <a:lumMod val="10000"/>
                <a:lumOff val="90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568047" y="3103089"/>
            <a:ext cx="11055906" cy="362123"/>
          </a:xfrm>
        </p:spPr>
        <p:txBody>
          <a:bodyPr wrap="square" lIns="0" tIns="0" rIns="0" bIns="0">
            <a:spAutoFit/>
          </a:bodyPr>
          <a:lstStyle>
            <a:lvl1pPr marL="0" indent="0" algn="ctr">
              <a:lnSpc>
                <a:spcPct val="100000"/>
              </a:lnSpc>
              <a:spcBef>
                <a:spcPts val="0"/>
              </a:spcBef>
              <a:spcAft>
                <a:spcPts val="1274"/>
              </a:spcAft>
              <a:buNone/>
              <a:defRPr sz="2353" b="0" i="0">
                <a:solidFill>
                  <a:srgbClr val="000000"/>
                </a:solidFill>
                <a:latin typeface="Segoe UI Semilight" panose="020B0402040204020203" pitchFamily="34" charset="0"/>
                <a:cs typeface="Segoe UI Semilight" panose="020B0402040204020203" pitchFamily="34" charset="0"/>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Place quote content here</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568047" y="2109646"/>
            <a:ext cx="11055906" cy="739343"/>
          </a:xfrm>
          <a:prstGeom prst="rect">
            <a:avLst/>
          </a:prstGeom>
        </p:spPr>
        <p:txBody>
          <a:bodyPr vert="horz" wrap="square" lIns="0" tIns="164592" rIns="0" bIns="0" rtlCol="0" anchor="t">
            <a:noAutofit/>
          </a:bodyPr>
          <a:lstStyle>
            <a:lvl1pPr marL="0" marR="0" indent="0" algn="ctr" defTabSz="914367" rtl="0" eaLnBrk="1" fontAlgn="auto" latinLnBrk="0" hangingPunct="1">
              <a:lnSpc>
                <a:spcPct val="100000"/>
              </a:lnSpc>
              <a:spcBef>
                <a:spcPct val="0"/>
              </a:spcBef>
              <a:spcAft>
                <a:spcPts val="0"/>
              </a:spcAft>
              <a:buClrTx/>
              <a:buSzTx/>
              <a:buFontTx/>
              <a:buNone/>
              <a:tabLst/>
              <a:defRPr sz="3529">
                <a:solidFill>
                  <a:srgbClr val="000000"/>
                </a:solidFill>
              </a:defRPr>
            </a:lvl1pPr>
          </a:lstStyle>
          <a:p>
            <a:r>
              <a:rPr lang="en-US"/>
              <a:t>This is a quote title</a:t>
            </a:r>
          </a:p>
        </p:txBody>
      </p:sp>
    </p:spTree>
    <p:extLst>
      <p:ext uri="{BB962C8B-B14F-4D97-AF65-F5344CB8AC3E}">
        <p14:creationId xmlns:p14="http://schemas.microsoft.com/office/powerpoint/2010/main" val="20269215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DFC48780-1112-4B8A-806D-44A7409F4F04}"/>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24412873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68048" y="2249399"/>
            <a:ext cx="11055905" cy="4018683"/>
          </a:xfrm>
        </p:spPr>
        <p:txBody>
          <a:bodyPr anchor="ctr">
            <a:noAutofit/>
          </a:bodyPr>
          <a:lstStyle>
            <a:lvl1pPr marL="0" indent="0" algn="ctr">
              <a:lnSpc>
                <a:spcPct val="100000"/>
              </a:lnSpc>
              <a:buNone/>
              <a:defRPr sz="1961">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33849161"/>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s option">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5999"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089074688"/>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wo columns o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3D372C1-C3AD-2348-A592-CFE38B4B501F}"/>
              </a:ext>
            </a:extLst>
          </p:cNvPr>
          <p:cNvSpPr/>
          <p:nvPr userDrawn="1"/>
        </p:nvSpPr>
        <p:spPr bwMode="auto">
          <a:xfrm>
            <a:off x="0" y="0"/>
            <a:ext cx="6096000" cy="6858000"/>
          </a:xfrm>
          <a:prstGeom prst="rect">
            <a:avLst/>
          </a:prstGeom>
          <a:solidFill>
            <a:schemeClr val="tx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6096000" y="0"/>
            <a:ext cx="6095999"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solidFill>
                  <a:schemeClr val="bg1"/>
                </a:solidFill>
              </a:defRPr>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chemeClr val="bg1"/>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75932263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699131421"/>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998792656"/>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5050172" y="2084173"/>
            <a:ext cx="7141828" cy="8034558"/>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2090060"/>
            <a:ext cx="4033912" cy="41780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5" name="Text Placeholder 3">
            <a:extLst>
              <a:ext uri="{FF2B5EF4-FFF2-40B4-BE49-F238E27FC236}">
                <a16:creationId xmlns:a16="http://schemas.microsoft.com/office/drawing/2014/main" id="{C670CC60-EBF6-694C-A2BB-3D5246AC21B3}"/>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6" name="Title Placeholder 1">
            <a:extLst>
              <a:ext uri="{FF2B5EF4-FFF2-40B4-BE49-F238E27FC236}">
                <a16:creationId xmlns:a16="http://schemas.microsoft.com/office/drawing/2014/main" id="{99EC2EFD-687A-4144-888B-BEB48CF7F400}"/>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747226229"/>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339">
          <p15:clr>
            <a:srgbClr val="FBAE40"/>
          </p15:clr>
        </p15:guide>
        <p15:guide id="5" orient="horz" pos="787">
          <p15:clr>
            <a:srgbClr val="FBAE40"/>
          </p15:clr>
        </p15:guide>
        <p15:guide id="6" pos="295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110695" y="1685368"/>
            <a:ext cx="6096000" cy="6858000"/>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82742" y="720063"/>
            <a:ext cx="11041212" cy="600791"/>
          </a:xfrm>
          <a:prstGeom prst="rect">
            <a:avLst/>
          </a:prstGeom>
        </p:spPr>
        <p:txBody>
          <a:bodyPr vert="horz" wrap="square" lIns="0" tIns="164592" rIns="0" bIns="0" rtlCol="0" anchor="b">
            <a:noAutofit/>
          </a:bodyPr>
          <a:lstStyle>
            <a:lvl1pPr algn="ctr">
              <a:lnSpc>
                <a:spcPct val="100000"/>
              </a:lnSpc>
              <a:defRPr sz="3137"/>
            </a:lvl1pPr>
          </a:lstStyle>
          <a:p>
            <a:r>
              <a:rPr lang="en-US"/>
              <a:t>Title 2 columns option 32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5786217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guide id="6" pos="3605">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lumns horizontal">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73BC532A-232C-614A-9A8E-8F46338E7427}"/>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3">
            <a:extLst>
              <a:ext uri="{FF2B5EF4-FFF2-40B4-BE49-F238E27FC236}">
                <a16:creationId xmlns:a16="http://schemas.microsoft.com/office/drawing/2014/main" id="{19CE4FD5-A665-4C46-8EBD-AE5358A72B45}"/>
              </a:ext>
            </a:extLst>
          </p:cNvPr>
          <p:cNvSpPr>
            <a:spLocks noGrp="1"/>
          </p:cNvSpPr>
          <p:nvPr>
            <p:ph type="body" sz="quarter" idx="24" hasCustomPrompt="1"/>
          </p:nvPr>
        </p:nvSpPr>
        <p:spPr>
          <a:xfrm>
            <a:off x="568047"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15" name="Title Placeholder 1">
            <a:extLst>
              <a:ext uri="{FF2B5EF4-FFF2-40B4-BE49-F238E27FC236}">
                <a16:creationId xmlns:a16="http://schemas.microsoft.com/office/drawing/2014/main" id="{79F4A4D1-3171-824D-A05B-A538BB026D0A}"/>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
        <p:nvSpPr>
          <p:cNvPr id="6" name="Text Placeholder 3">
            <a:extLst>
              <a:ext uri="{FF2B5EF4-FFF2-40B4-BE49-F238E27FC236}">
                <a16:creationId xmlns:a16="http://schemas.microsoft.com/office/drawing/2014/main" id="{2DFF242A-7D2F-784D-AE4E-968B4953B549}"/>
              </a:ext>
            </a:extLst>
          </p:cNvPr>
          <p:cNvSpPr>
            <a:spLocks noGrp="1"/>
          </p:cNvSpPr>
          <p:nvPr>
            <p:ph type="body" sz="quarter" idx="25" hasCustomPrompt="1"/>
          </p:nvPr>
        </p:nvSpPr>
        <p:spPr>
          <a:xfrm>
            <a:off x="6589684"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1" name="Text Placeholder 3">
            <a:extLst>
              <a:ext uri="{FF2B5EF4-FFF2-40B4-BE49-F238E27FC236}">
                <a16:creationId xmlns:a16="http://schemas.microsoft.com/office/drawing/2014/main" id="{BCB0ACE2-6D1F-744E-9745-5BAD8E909BB8}"/>
              </a:ext>
            </a:extLst>
          </p:cNvPr>
          <p:cNvSpPr>
            <a:spLocks noGrp="1"/>
          </p:cNvSpPr>
          <p:nvPr>
            <p:ph type="body" sz="quarter" idx="31" hasCustomPrompt="1"/>
          </p:nvPr>
        </p:nvSpPr>
        <p:spPr>
          <a:xfrm>
            <a:off x="8678733"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2" name="Text Placeholder 3">
            <a:extLst>
              <a:ext uri="{FF2B5EF4-FFF2-40B4-BE49-F238E27FC236}">
                <a16:creationId xmlns:a16="http://schemas.microsoft.com/office/drawing/2014/main" id="{784980A6-D8A2-5640-9717-76E7777603D0}"/>
              </a:ext>
            </a:extLst>
          </p:cNvPr>
          <p:cNvSpPr>
            <a:spLocks noGrp="1"/>
          </p:cNvSpPr>
          <p:nvPr>
            <p:ph type="body" sz="quarter" idx="32" hasCustomPrompt="1"/>
          </p:nvPr>
        </p:nvSpPr>
        <p:spPr>
          <a:xfrm>
            <a:off x="58151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3" name="Text Placeholder 3">
            <a:extLst>
              <a:ext uri="{FF2B5EF4-FFF2-40B4-BE49-F238E27FC236}">
                <a16:creationId xmlns:a16="http://schemas.microsoft.com/office/drawing/2014/main" id="{0BE72B4E-94D4-FE4D-93A1-84E5464D397A}"/>
              </a:ext>
            </a:extLst>
          </p:cNvPr>
          <p:cNvSpPr>
            <a:spLocks noGrp="1"/>
          </p:cNvSpPr>
          <p:nvPr>
            <p:ph type="body" sz="quarter" idx="33" hasCustomPrompt="1"/>
          </p:nvPr>
        </p:nvSpPr>
        <p:spPr>
          <a:xfrm>
            <a:off x="462259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473948195"/>
      </p:ext>
    </p:extLst>
  </p:cSld>
  <p:clrMapOvr>
    <a:masterClrMapping/>
  </p:clrMapOvr>
  <p:transition>
    <p:fade/>
  </p:transition>
  <p:extLst>
    <p:ext uri="{DCECCB84-F9BA-43D5-87BE-67443E8EF086}">
      <p15:sldGuideLst xmlns:p15="http://schemas.microsoft.com/office/powerpoint/2012/main">
        <p15:guide id="4" orient="horz" pos="2203">
          <p15:clr>
            <a:srgbClr val="FBAE40"/>
          </p15:clr>
        </p15:guide>
        <p15:guide id="5" orient="horz" pos="2059">
          <p15:clr>
            <a:srgbClr val="FBAE40"/>
          </p15:clr>
        </p15:guide>
        <p15:guide id="6" pos="3917">
          <p15:clr>
            <a:srgbClr val="FBAE40"/>
          </p15:clr>
        </p15:guide>
        <p15:guide id="7" pos="3605">
          <p15:clr>
            <a:srgbClr val="FBAE40"/>
          </p15:clr>
        </p15:guide>
        <p15:guide id="8" pos="4229">
          <p15:clr>
            <a:srgbClr val="FBAE40"/>
          </p15:clr>
        </p15:guide>
        <p15:guide id="9" orient="horz" pos="2371">
          <p15:clr>
            <a:srgbClr val="FBAE40"/>
          </p15:clr>
        </p15:guide>
        <p15:guide id="10" orient="horz" pos="787">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2594264985"/>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Device layout">
    <p:bg>
      <p:bgPr>
        <a:gradFill>
          <a:gsLst>
            <a:gs pos="51000">
              <a:schemeClr val="bg2">
                <a:lumMod val="98000"/>
              </a:schemeClr>
            </a:gs>
            <a:gs pos="100000">
              <a:schemeClr val="bg1">
                <a:lumMod val="85000"/>
              </a:schemeClr>
            </a:gs>
            <a:gs pos="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93784473"/>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9056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Device layout">
    <p:bg>
      <p:bgPr>
        <a:gradFill>
          <a:gsLst>
            <a:gs pos="51000">
              <a:schemeClr val="bg2">
                <a:lumMod val="98000"/>
              </a:schemeClr>
            </a:gs>
            <a:gs pos="700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166667220"/>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s icon and text">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2075413"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6887635"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8" name="Title Placeholder 1">
            <a:extLst>
              <a:ext uri="{FF2B5EF4-FFF2-40B4-BE49-F238E27FC236}">
                <a16:creationId xmlns:a16="http://schemas.microsoft.com/office/drawing/2014/main" id="{DD2F2D44-A063-434A-9A6B-75B77AC5E6C7}"/>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photo and text</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1591142"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0" name="Text Placeholder 4">
            <a:extLst>
              <a:ext uri="{FF2B5EF4-FFF2-40B4-BE49-F238E27FC236}">
                <a16:creationId xmlns:a16="http://schemas.microsoft.com/office/drawing/2014/main" id="{22958FA9-3DF4-464A-B8CB-3257630202A1}"/>
              </a:ext>
            </a:extLst>
          </p:cNvPr>
          <p:cNvSpPr>
            <a:spLocks noGrp="1"/>
          </p:cNvSpPr>
          <p:nvPr>
            <p:ph type="body" sz="quarter" idx="36" hasCustomPrompt="1"/>
          </p:nvPr>
        </p:nvSpPr>
        <p:spPr>
          <a:xfrm>
            <a:off x="6407526"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1" name="Text Placeholder 3">
            <a:extLst>
              <a:ext uri="{FF2B5EF4-FFF2-40B4-BE49-F238E27FC236}">
                <a16:creationId xmlns:a16="http://schemas.microsoft.com/office/drawing/2014/main" id="{43974893-D209-2246-BBF5-10DAC827898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3063253091"/>
      </p:ext>
    </p:extLst>
  </p:cSld>
  <p:clrMapOvr>
    <a:masterClrMapping/>
  </p:clrMapOvr>
  <p:transition>
    <p:fade/>
  </p:transition>
  <p:extLst>
    <p:ext uri="{DCECCB84-F9BA-43D5-87BE-67443E8EF086}">
      <p15:sldGuideLst xmlns:p15="http://schemas.microsoft.com/office/powerpoint/2012/main">
        <p15:guide id="1" pos="4109">
          <p15:clr>
            <a:srgbClr val="FBAE40"/>
          </p15:clr>
        </p15:guide>
        <p15:guide id="2" pos="3677">
          <p15:clr>
            <a:srgbClr val="FBAE40"/>
          </p15:clr>
        </p15:guide>
        <p15:guide id="3" orient="horz" pos="787">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wo columns icon and text">
    <p:bg>
      <p:bgPr>
        <a:solidFill>
          <a:schemeClr val="bg1"/>
        </a:solidFill>
        <a:effectLst/>
      </p:bgPr>
    </p:bg>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1446010"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7579022"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956174"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Title Placeholder 1">
            <a:extLst>
              <a:ext uri="{FF2B5EF4-FFF2-40B4-BE49-F238E27FC236}">
                <a16:creationId xmlns:a16="http://schemas.microsoft.com/office/drawing/2014/main" id="{09010E39-4F33-6946-94CD-17C19CE7F27F}"/>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icon and text</a:t>
            </a:r>
          </a:p>
        </p:txBody>
      </p:sp>
      <p:sp>
        <p:nvSpPr>
          <p:cNvPr id="14" name="Text Placeholder 3">
            <a:extLst>
              <a:ext uri="{FF2B5EF4-FFF2-40B4-BE49-F238E27FC236}">
                <a16:creationId xmlns:a16="http://schemas.microsoft.com/office/drawing/2014/main" id="{5950544B-2DBE-A44F-B462-4B5D7217EA3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5" name="Text Placeholder 4">
            <a:extLst>
              <a:ext uri="{FF2B5EF4-FFF2-40B4-BE49-F238E27FC236}">
                <a16:creationId xmlns:a16="http://schemas.microsoft.com/office/drawing/2014/main" id="{22E740BE-8F6D-F54B-BA3C-CEA3EC28200D}"/>
              </a:ext>
            </a:extLst>
          </p:cNvPr>
          <p:cNvSpPr>
            <a:spLocks noGrp="1"/>
          </p:cNvSpPr>
          <p:nvPr>
            <p:ph type="body" sz="quarter" idx="36" hasCustomPrompt="1"/>
          </p:nvPr>
        </p:nvSpPr>
        <p:spPr>
          <a:xfrm>
            <a:off x="7069497"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154455953"/>
      </p:ext>
    </p:extLst>
  </p:cSld>
  <p:clrMapOvr>
    <a:masterClrMapping/>
  </p:clrMapOvr>
  <p:transition>
    <p:fade/>
  </p:transition>
  <p:extLst>
    <p:ext uri="{DCECCB84-F9BA-43D5-87BE-67443E8EF086}">
      <p15:sldGuideLst xmlns:p15="http://schemas.microsoft.com/office/powerpoint/2012/main">
        <p15:guide id="1" pos="4541">
          <p15:clr>
            <a:srgbClr val="FBAE40"/>
          </p15:clr>
        </p15:guide>
        <p15:guide id="2" pos="3269">
          <p15:clr>
            <a:srgbClr val="FBAE40"/>
          </p15:clr>
        </p15:guide>
        <p15:guide id="3" orient="horz" pos="787">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914996352"/>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3840072247"/>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Grid option">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732372"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5540071"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347769"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1155467"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9" name="Content Placeholder 15">
            <a:extLst>
              <a:ext uri="{FF2B5EF4-FFF2-40B4-BE49-F238E27FC236}">
                <a16:creationId xmlns:a16="http://schemas.microsoft.com/office/drawing/2014/main" id="{DA574C86-0C5D-5646-98CC-9E3BE59F21F4}"/>
              </a:ext>
            </a:extLst>
          </p:cNvPr>
          <p:cNvSpPr>
            <a:spLocks noGrp="1"/>
          </p:cNvSpPr>
          <p:nvPr>
            <p:ph sz="quarter" idx="29" hasCustomPrompt="1"/>
          </p:nvPr>
        </p:nvSpPr>
        <p:spPr>
          <a:xfrm>
            <a:off x="9924674"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4" name="Content Placeholder 15">
            <a:extLst>
              <a:ext uri="{FF2B5EF4-FFF2-40B4-BE49-F238E27FC236}">
                <a16:creationId xmlns:a16="http://schemas.microsoft.com/office/drawing/2014/main" id="{D8ED80AB-DF9B-4C43-9453-B0AF31051A96}"/>
              </a:ext>
            </a:extLst>
          </p:cNvPr>
          <p:cNvSpPr>
            <a:spLocks noGrp="1"/>
          </p:cNvSpPr>
          <p:nvPr>
            <p:ph sz="quarter" idx="30" hasCustomPrompt="1"/>
          </p:nvPr>
        </p:nvSpPr>
        <p:spPr>
          <a:xfrm>
            <a:off x="7732372"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6" name="Content Placeholder 15">
            <a:extLst>
              <a:ext uri="{FF2B5EF4-FFF2-40B4-BE49-F238E27FC236}">
                <a16:creationId xmlns:a16="http://schemas.microsoft.com/office/drawing/2014/main" id="{5C0A50A0-8138-3E46-BC03-322B8BE02EEE}"/>
              </a:ext>
            </a:extLst>
          </p:cNvPr>
          <p:cNvSpPr>
            <a:spLocks noGrp="1"/>
          </p:cNvSpPr>
          <p:nvPr>
            <p:ph sz="quarter" idx="31" hasCustomPrompt="1"/>
          </p:nvPr>
        </p:nvSpPr>
        <p:spPr>
          <a:xfrm>
            <a:off x="5540071"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8" name="Content Placeholder 15">
            <a:extLst>
              <a:ext uri="{FF2B5EF4-FFF2-40B4-BE49-F238E27FC236}">
                <a16:creationId xmlns:a16="http://schemas.microsoft.com/office/drawing/2014/main" id="{2488B3AD-0B7B-DB45-826D-75532D6FC6AC}"/>
              </a:ext>
            </a:extLst>
          </p:cNvPr>
          <p:cNvSpPr>
            <a:spLocks noGrp="1"/>
          </p:cNvSpPr>
          <p:nvPr>
            <p:ph sz="quarter" idx="32" hasCustomPrompt="1"/>
          </p:nvPr>
        </p:nvSpPr>
        <p:spPr>
          <a:xfrm>
            <a:off x="3347769"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1" name="Content Placeholder 15">
            <a:extLst>
              <a:ext uri="{FF2B5EF4-FFF2-40B4-BE49-F238E27FC236}">
                <a16:creationId xmlns:a16="http://schemas.microsoft.com/office/drawing/2014/main" id="{7DCA5DEF-DBDE-2F4A-A826-64D43A063327}"/>
              </a:ext>
            </a:extLst>
          </p:cNvPr>
          <p:cNvSpPr>
            <a:spLocks noGrp="1"/>
          </p:cNvSpPr>
          <p:nvPr>
            <p:ph sz="quarter" idx="33" hasCustomPrompt="1"/>
          </p:nvPr>
        </p:nvSpPr>
        <p:spPr>
          <a:xfrm>
            <a:off x="1155467"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5" name="Content Placeholder 15">
            <a:extLst>
              <a:ext uri="{FF2B5EF4-FFF2-40B4-BE49-F238E27FC236}">
                <a16:creationId xmlns:a16="http://schemas.microsoft.com/office/drawing/2014/main" id="{0C928271-7198-3E4F-A6C7-18450A4BDFEE}"/>
              </a:ext>
            </a:extLst>
          </p:cNvPr>
          <p:cNvSpPr>
            <a:spLocks noGrp="1"/>
          </p:cNvSpPr>
          <p:nvPr>
            <p:ph sz="quarter" idx="34" hasCustomPrompt="1"/>
          </p:nvPr>
        </p:nvSpPr>
        <p:spPr>
          <a:xfrm>
            <a:off x="9924674"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7" name="Title Placeholder 1">
            <a:extLst>
              <a:ext uri="{FF2B5EF4-FFF2-40B4-BE49-F238E27FC236}">
                <a16:creationId xmlns:a16="http://schemas.microsoft.com/office/drawing/2014/main" id="{06D25060-3E3E-724F-943A-38C08E938F04}"/>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8" name="Text Placeholder 3">
            <a:extLst>
              <a:ext uri="{FF2B5EF4-FFF2-40B4-BE49-F238E27FC236}">
                <a16:creationId xmlns:a16="http://schemas.microsoft.com/office/drawing/2014/main" id="{78FAAC7E-C99D-2940-9C35-ECA73DBB2F4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2605407633"/>
      </p:ext>
    </p:extLst>
  </p:cSld>
  <p:clrMapOvr>
    <a:masterClrMapping/>
  </p:clrMapOvr>
  <p:transition>
    <p:fade/>
  </p:transition>
  <p:extLst>
    <p:ext uri="{DCECCB84-F9BA-43D5-87BE-67443E8EF086}">
      <p15:sldGuideLst xmlns:p15="http://schemas.microsoft.com/office/powerpoint/2012/main">
        <p15:guide id="1" pos="2141">
          <p15:clr>
            <a:srgbClr val="FBAE40"/>
          </p15:clr>
        </p15:guide>
        <p15:guide id="3" pos="1517">
          <p15:clr>
            <a:srgbClr val="FBAE40"/>
          </p15:clr>
        </p15:guide>
        <p15:guide id="4" pos="4325">
          <p15:clr>
            <a:srgbClr val="FBAE40"/>
          </p15:clr>
        </p15:guide>
        <p15:guide id="5" pos="2933">
          <p15:clr>
            <a:srgbClr val="FBAE40"/>
          </p15:clr>
        </p15:guide>
        <p15:guide id="6" pos="353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4949">
          <p15:clr>
            <a:srgbClr val="FBAE40"/>
          </p15:clr>
        </p15:guide>
        <p15:guide id="12" pos="5741">
          <p15:clr>
            <a:srgbClr val="FBAE40"/>
          </p15:clr>
        </p15:guide>
        <p15:guide id="13" pos="6365">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4" cy="661629"/>
          </a:xfrm>
        </p:spPr>
        <p:txBody>
          <a:bodyPr wrap="square">
            <a:spAutoFit/>
          </a:bodyPr>
          <a:lstStyle>
            <a:lvl1pPr>
              <a:defRPr kumimoji="0" lang="en-US" sz="3600" b="0" i="0" u="none" strike="noStrike" kern="1200" cap="none" spc="-50"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13650701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582989" y="1829711"/>
            <a:ext cx="4570730" cy="1473396"/>
          </a:xfrm>
          <a:noFill/>
        </p:spPr>
        <p:txBody>
          <a:bodyPr lIns="0" tIns="0" rIns="0" bIns="0" anchor="ctr" anchorCtr="0"/>
          <a:lstStyle>
            <a:lvl1pPr>
              <a:lnSpc>
                <a:spcPct val="100000"/>
              </a:lnSpc>
              <a:spcAft>
                <a:spcPts val="1274"/>
              </a:spcAft>
              <a:defRPr sz="3137" spc="-147" baseline="0">
                <a:solidFill>
                  <a:srgbClr val="000000"/>
                </a:solidFill>
              </a:defRPr>
            </a:lvl1pPr>
          </a:lstStyle>
          <a:p>
            <a:r>
              <a:rPr lang="en-US"/>
              <a:t>Thank you</a:t>
            </a:r>
          </a:p>
        </p:txBody>
      </p:sp>
      <p:pic>
        <p:nvPicPr>
          <p:cNvPr id="6" name="Picture 5">
            <a:extLst>
              <a:ext uri="{FF2B5EF4-FFF2-40B4-BE49-F238E27FC236}">
                <a16:creationId xmlns:a16="http://schemas.microsoft.com/office/drawing/2014/main" id="{AC87012C-D4A3-5849-8C72-3EA531A81F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Tree>
    <p:extLst>
      <p:ext uri="{BB962C8B-B14F-4D97-AF65-F5344CB8AC3E}">
        <p14:creationId xmlns:p14="http://schemas.microsoft.com/office/powerpoint/2010/main" val="2397556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8" y="1829711"/>
            <a:ext cx="4482124" cy="1473396"/>
          </a:xfrm>
          <a:noFill/>
        </p:spPr>
        <p:txBody>
          <a:bodyPr lIns="0" tIns="0" rIns="0" bIns="0" anchor="ctr" anchorCtr="0"/>
          <a:lstStyle>
            <a:lvl1pPr>
              <a:lnSpc>
                <a:spcPct val="100000"/>
              </a:lnSpc>
              <a:spcAft>
                <a:spcPts val="1274"/>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3676280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42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4AAE8535-6ECB-402D-A19C-E0CADB953099}"/>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3218182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46EF9-D300-4545-8DE2-134BAB5098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FC278FA-8E51-4ADC-B69B-436E5049177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95F0C05-F6F8-45FD-89B5-57377275D1A7}"/>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5" name="Footer Placeholder 4">
            <a:extLst>
              <a:ext uri="{FF2B5EF4-FFF2-40B4-BE49-F238E27FC236}">
                <a16:creationId xmlns:a16="http://schemas.microsoft.com/office/drawing/2014/main" id="{9CF69F51-C6FF-424F-AC42-F26E96E7359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A32692-66A6-4875-BFC1-F5B4CB19DFBB}"/>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1217177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3FFF9-B1DC-4203-8A16-6AD7BE478BE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097091-36CE-4352-BD13-DB83F073D7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FB7B356-E8A2-4CE0-9C7F-0C7DCCD44F54}"/>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5" name="Footer Placeholder 4">
            <a:extLst>
              <a:ext uri="{FF2B5EF4-FFF2-40B4-BE49-F238E27FC236}">
                <a16:creationId xmlns:a16="http://schemas.microsoft.com/office/drawing/2014/main" id="{0099A351-F966-4A42-B407-E7845A2EDCF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0F4B50-46E3-4D72-B888-6B5E14546AB5}"/>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6979132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3D759-6C27-465D-919A-5721A6ED700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CBF3F3F-C54F-44A5-A98F-281555CE910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AF237C-ED89-41A6-B478-62DEBE6B0C44}"/>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5" name="Footer Placeholder 4">
            <a:extLst>
              <a:ext uri="{FF2B5EF4-FFF2-40B4-BE49-F238E27FC236}">
                <a16:creationId xmlns:a16="http://schemas.microsoft.com/office/drawing/2014/main" id="{AFB4097C-20DC-46F9-906E-4AA225492E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157D380-A9E5-4D38-BEDD-D4438C6DCB5A}"/>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363727285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FE176-2C41-4FBA-993A-5756804A997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3167B4A-F387-41FC-AF61-84A442C3BC1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3F3E6D2-0543-4F42-BE14-6EFF6852899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6A2A088-5EE9-4140-984E-C3C832D7F422}"/>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6" name="Footer Placeholder 5">
            <a:extLst>
              <a:ext uri="{FF2B5EF4-FFF2-40B4-BE49-F238E27FC236}">
                <a16:creationId xmlns:a16="http://schemas.microsoft.com/office/drawing/2014/main" id="{34D72791-4E1F-4708-810C-3C5757DF004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F3DBA6C-056E-4B3C-8456-B5F36EEF4E69}"/>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4831979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C400A-8FCE-4C68-BCBF-149269B78DE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741815C-4E70-4B0A-A909-56C1C5B8DF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12BDAF-EE97-4DA9-8B38-3437CF15A43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0178E6C-0EDB-4D65-AA9E-0A361F5179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6852F1-8F89-48EE-816D-2517926541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96A9B5A-B341-4EEE-8C0C-FF2EE9EB39BC}"/>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8" name="Footer Placeholder 7">
            <a:extLst>
              <a:ext uri="{FF2B5EF4-FFF2-40B4-BE49-F238E27FC236}">
                <a16:creationId xmlns:a16="http://schemas.microsoft.com/office/drawing/2014/main" id="{689CF237-7B7A-4B39-9901-E1C01C9ABBC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4392822-52DD-4F9B-A1D1-652E5D8BB2E0}"/>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341554310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3922F-D9C1-4702-B6B8-7151C2B27CE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7963EC0-9B53-4E61-BEE8-FFC3D5D2F9C1}"/>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4" name="Footer Placeholder 3">
            <a:extLst>
              <a:ext uri="{FF2B5EF4-FFF2-40B4-BE49-F238E27FC236}">
                <a16:creationId xmlns:a16="http://schemas.microsoft.com/office/drawing/2014/main" id="{6AA81B02-0227-4B96-B65D-ECEFFF191CB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C2BE4B1-C5EE-411C-832A-87D3F9F02894}"/>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40559376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0648C3-B6B5-43D8-A549-8CC24B9246A1}"/>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3" name="Footer Placeholder 2">
            <a:extLst>
              <a:ext uri="{FF2B5EF4-FFF2-40B4-BE49-F238E27FC236}">
                <a16:creationId xmlns:a16="http://schemas.microsoft.com/office/drawing/2014/main" id="{5749EAA8-53B6-4721-B792-99C52C2B800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D9AB253-23A0-4706-AF7D-FF654D1962BB}"/>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109300489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9D184-4D90-487A-ABFD-E460350509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7D07D27-3339-4A79-929C-E9B704B95D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A5F91AC-D265-4B4D-99AD-ACB48AA0FC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2C51C5-9784-4374-BD44-075B8D99CD32}"/>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6" name="Footer Placeholder 5">
            <a:extLst>
              <a:ext uri="{FF2B5EF4-FFF2-40B4-BE49-F238E27FC236}">
                <a16:creationId xmlns:a16="http://schemas.microsoft.com/office/drawing/2014/main" id="{24F37057-2775-4D0B-B2DE-A79246304AC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F05CAEF-3350-4D8B-A88B-F1640E7481E0}"/>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334275109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C440F-5194-451F-92B6-5C60957592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F096336-7C03-4E10-803B-2C5D8557CC0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64DC865-CC00-48E2-8BF2-E383DC8B30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E6EDB1-CF6E-4779-9385-49FA17561743}"/>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6" name="Footer Placeholder 5">
            <a:extLst>
              <a:ext uri="{FF2B5EF4-FFF2-40B4-BE49-F238E27FC236}">
                <a16:creationId xmlns:a16="http://schemas.microsoft.com/office/drawing/2014/main" id="{BC48A847-3F2D-4B09-AC9B-186596E2C2D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F128948-1464-4995-9F83-CD807C27FD2E}"/>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1060458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5E550-B848-4D6F-91A3-6856D2A59BF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25B904F-94B1-4334-B351-5863048C2E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2128AF-D797-43DD-B62D-4217911CE81D}"/>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5" name="Footer Placeholder 4">
            <a:extLst>
              <a:ext uri="{FF2B5EF4-FFF2-40B4-BE49-F238E27FC236}">
                <a16:creationId xmlns:a16="http://schemas.microsoft.com/office/drawing/2014/main" id="{F10816B1-7D53-4F9D-979A-F1FE52B911A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58310FC-E07B-44D2-99C8-46A1D0CF5028}"/>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10469576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 Placeholder 2">
            <a:extLst>
              <a:ext uri="{FF2B5EF4-FFF2-40B4-BE49-F238E27FC236}">
                <a16:creationId xmlns:a16="http://schemas.microsoft.com/office/drawing/2014/main" id="{71874D65-C227-4687-BD8F-BCB6E63FA968}"/>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415588986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EEF482-CDAF-44B2-B60C-D661EF5B28C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539F506-3B23-43D9-8ABD-EED71DD8574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A31002E-54DC-470C-B52C-1BBE9F6E2A74}"/>
              </a:ext>
            </a:extLst>
          </p:cNvPr>
          <p:cNvSpPr>
            <a:spLocks noGrp="1"/>
          </p:cNvSpPr>
          <p:nvPr>
            <p:ph type="dt" sz="half" idx="10"/>
          </p:nvPr>
        </p:nvSpPr>
        <p:spPr/>
        <p:txBody>
          <a:bodyPr/>
          <a:lstStyle/>
          <a:p>
            <a:fld id="{554B4657-EF55-4408-A1B2-D951739FE93A}" type="datetimeFigureOut">
              <a:rPr lang="en-GB" smtClean="0"/>
              <a:t>08/12/2020</a:t>
            </a:fld>
            <a:endParaRPr lang="en-GB"/>
          </a:p>
        </p:txBody>
      </p:sp>
      <p:sp>
        <p:nvSpPr>
          <p:cNvPr id="5" name="Footer Placeholder 4">
            <a:extLst>
              <a:ext uri="{FF2B5EF4-FFF2-40B4-BE49-F238E27FC236}">
                <a16:creationId xmlns:a16="http://schemas.microsoft.com/office/drawing/2014/main" id="{E387E71F-2DFB-484E-9FF0-14B9C94C4AB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C7C392E-2E63-4E0C-A247-9B4D46E32256}"/>
              </a:ext>
            </a:extLst>
          </p:cNvPr>
          <p:cNvSpPr>
            <a:spLocks noGrp="1"/>
          </p:cNvSpPr>
          <p:nvPr>
            <p:ph type="sldNum" sz="quarter" idx="12"/>
          </p:nvPr>
        </p:nvSpPr>
        <p:spPr/>
        <p:txBody>
          <a:bodyPr/>
          <a:lstStyle/>
          <a:p>
            <a:fld id="{522D4375-053C-4BD1-B6AB-AAF87C108206}" type="slidenum">
              <a:rPr lang="en-GB" smtClean="0"/>
              <a:t>‹#›</a:t>
            </a:fld>
            <a:endParaRPr lang="en-GB"/>
          </a:p>
        </p:txBody>
      </p:sp>
    </p:spTree>
    <p:extLst>
      <p:ext uri="{BB962C8B-B14F-4D97-AF65-F5344CB8AC3E}">
        <p14:creationId xmlns:p14="http://schemas.microsoft.com/office/powerpoint/2010/main" val="26550605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3559" t="19946" r="38989"/>
          <a:stretch/>
        </p:blipFill>
        <p:spPr>
          <a:xfrm>
            <a:off x="6094400" y="0"/>
            <a:ext cx="6097600" cy="6858000"/>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87049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userDrawn="1"/>
        </p:nvPicPr>
        <p:blipFill rotWithShape="1">
          <a:blip r:embed="rId2"/>
          <a:srcRect l="2135"/>
          <a:stretch/>
        </p:blipFill>
        <p:spPr>
          <a:xfrm>
            <a:off x="6095802" y="0"/>
            <a:ext cx="6096198" cy="6858000"/>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621617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5" name="Picture 24">
            <a:extLst>
              <a:ext uri="{FF2B5EF4-FFF2-40B4-BE49-F238E27FC236}">
                <a16:creationId xmlns:a16="http://schemas.microsoft.com/office/drawing/2014/main" id="{3C283639-F09A-41BC-9DDD-7E0B25240136}"/>
              </a:ext>
            </a:extLst>
          </p:cNvPr>
          <p:cNvPicPr/>
          <p:nvPr userDrawn="1"/>
        </p:nvPicPr>
        <p:blipFill>
          <a:blip r:embed="rId3"/>
          <a:stretch>
            <a:fillRect/>
          </a:stretch>
        </p:blipFill>
        <p:spPr>
          <a:xfrm>
            <a:off x="6119446" y="1975351"/>
            <a:ext cx="6072554" cy="4882649"/>
          </a:xfrm>
          <a:prstGeom prst="rect">
            <a:avLst/>
          </a:prstGeom>
        </p:spPr>
      </p:pic>
    </p:spTree>
    <p:extLst>
      <p:ext uri="{BB962C8B-B14F-4D97-AF65-F5344CB8AC3E}">
        <p14:creationId xmlns:p14="http://schemas.microsoft.com/office/powerpoint/2010/main" val="3096384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userDrawn="1"/>
        </p:nvGrpSpPr>
        <p:grpSpPr>
          <a:xfrm>
            <a:off x="0" y="-1"/>
            <a:ext cx="12192000" cy="6858001"/>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21000" contrast="-21000"/>
                    </a14:imgEffect>
                  </a14:imgLayer>
                </a14:imgProps>
              </a:ext>
              <a:ext uri="{28A0092B-C50C-407E-A947-70E740481C1C}">
                <a14:useLocalDpi xmlns:a14="http://schemas.microsoft.com/office/drawing/2010/main" val="0"/>
              </a:ext>
            </a:extLst>
          </a:blip>
          <a:srcRect t="3020" r="3020"/>
          <a:stretch/>
        </p:blipFill>
        <p:spPr>
          <a:xfrm>
            <a:off x="0" y="0"/>
            <a:ext cx="12192000" cy="6858000"/>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userDrawn="1"/>
        </p:nvSpPr>
        <p:spPr bwMode="auto">
          <a:xfrm>
            <a:off x="0" y="0"/>
            <a:ext cx="12192000" cy="6858000"/>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4534927"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62" name="Group 61">
            <a:extLst>
              <a:ext uri="{FF2B5EF4-FFF2-40B4-BE49-F238E27FC236}">
                <a16:creationId xmlns:a16="http://schemas.microsoft.com/office/drawing/2014/main" id="{7A0EBE5E-32DC-44EB-BF58-F9CA0C094B00}"/>
              </a:ext>
            </a:extLst>
          </p:cNvPr>
          <p:cNvGrpSpPr/>
          <p:nvPr userDrawn="1"/>
        </p:nvGrpSpPr>
        <p:grpSpPr>
          <a:xfrm>
            <a:off x="7004418" y="1956122"/>
            <a:ext cx="3463734" cy="2945756"/>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Tree>
    <p:extLst>
      <p:ext uri="{BB962C8B-B14F-4D97-AF65-F5344CB8AC3E}">
        <p14:creationId xmlns:p14="http://schemas.microsoft.com/office/powerpoint/2010/main" val="892444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36" b="15289"/>
          <a:stretch/>
        </p:blipFill>
        <p:spPr>
          <a:xfrm flipH="1">
            <a:off x="0" y="0"/>
            <a:ext cx="12192000" cy="6858000"/>
          </a:xfrm>
          <a:prstGeom prst="rect">
            <a:avLst/>
          </a:prstGeom>
        </p:spPr>
      </p:pic>
      <p:sp>
        <p:nvSpPr>
          <p:cNvPr id="5" name="Text Placeholder 4"/>
          <p:cNvSpPr>
            <a:spLocks noGrp="1"/>
          </p:cNvSpPr>
          <p:nvPr>
            <p:ph type="body" sz="quarter" idx="12" hasCustomPrompt="1"/>
          </p:nvPr>
        </p:nvSpPr>
        <p:spPr>
          <a:xfrm>
            <a:off x="271104" y="4835277"/>
            <a:ext cx="7318734"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7320536"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userDrawn="1"/>
        </p:nvGrpSpPr>
        <p:grpSpPr bwMode="gray">
          <a:xfrm>
            <a:off x="448214" y="470069"/>
            <a:ext cx="1648360" cy="353933"/>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095168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271104" y="3961753"/>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9598598" cy="2072245"/>
          </a:xfrm>
          <a:noFill/>
        </p:spPr>
        <p:txBody>
          <a:bodyPr lIns="146304" tIns="91440" rIns="146304" bIns="91440" anchor="b" anchorCtr="0"/>
          <a:lstStyle>
            <a:lvl1pPr>
              <a:defRPr sz="5400" spc="-98"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userDrawn="1"/>
        </p:nvGrpSpPr>
        <p:grpSpPr bwMode="gray">
          <a:xfrm>
            <a:off x="448214" y="470069"/>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33549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827"/>
          <a:stretch/>
        </p:blipFill>
        <p:spPr>
          <a:xfrm>
            <a:off x="-32363" y="0"/>
            <a:ext cx="12224363" cy="6858000"/>
          </a:xfrm>
          <a:prstGeom prst="rect">
            <a:avLst/>
          </a:prstGeom>
        </p:spPr>
      </p:pic>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5826698" cy="1738137"/>
          </a:xfrm>
          <a:noFill/>
        </p:spPr>
        <p:txBody>
          <a:bodyPr lIns="146304" tIns="91440" rIns="146304" bIns="91440" anchor="b" anchorCtr="0"/>
          <a:lstStyle>
            <a:lvl1pPr>
              <a:defRPr sz="4800" spc="-98"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userDrawn="1"/>
        </p:nvGrpSpPr>
        <p:grpSpPr bwMode="gray">
          <a:xfrm>
            <a:off x="448214" y="470069"/>
            <a:ext cx="1648360" cy="353933"/>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5421429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64766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395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 Placeholder 2">
            <a:extLst>
              <a:ext uri="{FF2B5EF4-FFF2-40B4-BE49-F238E27FC236}">
                <a16:creationId xmlns:a16="http://schemas.microsoft.com/office/drawing/2014/main" id="{319C3096-03E0-44A6-A127-B020285127FC}"/>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291577853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64944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5883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98858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47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userDrawn="1"/>
        </p:nvGrpSpPr>
        <p:grpSpPr>
          <a:xfrm>
            <a:off x="4716526" y="2105807"/>
            <a:ext cx="2758947" cy="2646387"/>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85041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Divider Slide">
    <p:bg>
      <p:bgPr>
        <a:solidFill>
          <a:schemeClr val="tx1"/>
        </a:solidFill>
        <a:effectLst/>
      </p:bgPr>
    </p:bg>
    <p:spTree>
      <p:nvGrpSpPr>
        <p:cNvPr id="1" name=""/>
        <p:cNvGrpSpPr/>
        <p:nvPr/>
      </p:nvGrpSpPr>
      <p:grpSpPr>
        <a:xfrm>
          <a:off x="0" y="0"/>
          <a:ext cx="0" cy="0"/>
          <a:chOff x="0" y="0"/>
          <a:chExt cx="0" cy="0"/>
        </a:xfrm>
      </p:grpSpPr>
      <p:pic>
        <p:nvPicPr>
          <p:cNvPr id="18" name="Picture 17" descr="A tall building&#10;&#10;Description generated with very high confidence">
            <a:extLst>
              <a:ext uri="{FF2B5EF4-FFF2-40B4-BE49-F238E27FC236}">
                <a16:creationId xmlns:a16="http://schemas.microsoft.com/office/drawing/2014/main" id="{D8FB0574-FD96-45DD-BDF9-0B23675FAE0B}"/>
              </a:ext>
            </a:extLst>
          </p:cNvPr>
          <p:cNvPicPr>
            <a:picLocks noChangeAspect="1"/>
          </p:cNvPicPr>
          <p:nvPr userDrawn="1"/>
        </p:nvPicPr>
        <p:blipFill>
          <a:blip r:embed="rId2">
            <a:extLst>
              <a:ext uri="{28A0092B-C50C-407E-A947-70E740481C1C}">
                <a14:useLocalDpi xmlns:a14="http://schemas.microsoft.com/office/drawing/2010/main" val="0"/>
              </a:ext>
            </a:extLst>
          </a:blip>
          <a:srcRect t="37583"/>
          <a:stretch>
            <a:fillRect/>
          </a:stretch>
        </p:blipFill>
        <p:spPr>
          <a:xfrm>
            <a:off x="4867024" y="0"/>
            <a:ext cx="7324976" cy="6858000"/>
          </a:xfrm>
          <a:custGeom>
            <a:avLst/>
            <a:gdLst>
              <a:gd name="connsiteX0" fmla="*/ 2441890 w 7324976"/>
              <a:gd name="connsiteY0" fmla="*/ 0 h 6858000"/>
              <a:gd name="connsiteX1" fmla="*/ 4883781 w 7324976"/>
              <a:gd name="connsiteY1" fmla="*/ 0 h 6858000"/>
              <a:gd name="connsiteX2" fmla="*/ 4883781 w 7324976"/>
              <a:gd name="connsiteY2" fmla="*/ 2061029 h 6858000"/>
              <a:gd name="connsiteX3" fmla="*/ 7324976 w 7324976"/>
              <a:gd name="connsiteY3" fmla="*/ 2061029 h 6858000"/>
              <a:gd name="connsiteX4" fmla="*/ 7324976 w 7324976"/>
              <a:gd name="connsiteY4" fmla="*/ 6858000 h 6858000"/>
              <a:gd name="connsiteX5" fmla="*/ 0 w 7324976"/>
              <a:gd name="connsiteY5" fmla="*/ 6858000 h 6858000"/>
              <a:gd name="connsiteX6" fmla="*/ 0 w 7324976"/>
              <a:gd name="connsiteY6" fmla="*/ 4267202 h 6858000"/>
              <a:gd name="connsiteX7" fmla="*/ 2441890 w 7324976"/>
              <a:gd name="connsiteY7" fmla="*/ 42672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6" h="6858000">
                <a:moveTo>
                  <a:pt x="2441890" y="0"/>
                </a:moveTo>
                <a:lnTo>
                  <a:pt x="4883781" y="0"/>
                </a:lnTo>
                <a:lnTo>
                  <a:pt x="4883781" y="2061029"/>
                </a:lnTo>
                <a:lnTo>
                  <a:pt x="7324976" y="2061029"/>
                </a:lnTo>
                <a:lnTo>
                  <a:pt x="7324976" y="6858000"/>
                </a:lnTo>
                <a:lnTo>
                  <a:pt x="0" y="6858000"/>
                </a:lnTo>
                <a:lnTo>
                  <a:pt x="0" y="4267202"/>
                </a:lnTo>
                <a:lnTo>
                  <a:pt x="2441890" y="4267202"/>
                </a:lnTo>
                <a:close/>
              </a:path>
            </a:pathLst>
          </a:custGeom>
        </p:spPr>
      </p:pic>
      <p:sp>
        <p:nvSpPr>
          <p:cNvPr id="2" name="Title 1"/>
          <p:cNvSpPr>
            <a:spLocks noGrp="1"/>
          </p:cNvSpPr>
          <p:nvPr>
            <p:ph type="title" hasCustomPrompt="1"/>
          </p:nvPr>
        </p:nvSpPr>
        <p:spPr>
          <a:xfrm>
            <a:off x="269239" y="3004269"/>
            <a:ext cx="4597785" cy="849463"/>
          </a:xfrm>
          <a:noFill/>
        </p:spPr>
        <p:txBody>
          <a:bodyPr wrap="square" tIns="91440" bIns="91440" anchor="ctr" anchorCtr="0">
            <a:spAutoFit/>
          </a:bodyPr>
          <a:lstStyle>
            <a:lvl1pPr>
              <a:defRPr sz="4800" spc="-98" baseline="0">
                <a:solidFill>
                  <a:schemeClr val="bg1"/>
                </a:solidFill>
              </a:defRPr>
            </a:lvl1pPr>
          </a:lstStyle>
          <a:p>
            <a:r>
              <a:rPr lang="en-US"/>
              <a:t>Section title</a:t>
            </a:r>
          </a:p>
        </p:txBody>
      </p:sp>
    </p:spTree>
    <p:extLst>
      <p:ext uri="{BB962C8B-B14F-4D97-AF65-F5344CB8AC3E}">
        <p14:creationId xmlns:p14="http://schemas.microsoft.com/office/powerpoint/2010/main" val="1331504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4_Divider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04269"/>
            <a:ext cx="4597785" cy="849463"/>
          </a:xfrm>
          <a:noFill/>
        </p:spPr>
        <p:txBody>
          <a:bodyPr wrap="square" tIns="91440" bIns="91440" anchor="ctr" anchorCtr="0">
            <a:spAutoFit/>
          </a:bodyPr>
          <a:lstStyle>
            <a:lvl1pPr>
              <a:defRPr sz="4800" spc="-98" baseline="0">
                <a:solidFill>
                  <a:schemeClr val="bg1"/>
                </a:solidFill>
              </a:defRPr>
            </a:lvl1pPr>
          </a:lstStyle>
          <a:p>
            <a:r>
              <a:rPr lang="en-US"/>
              <a:t>Section title</a:t>
            </a:r>
          </a:p>
        </p:txBody>
      </p:sp>
      <p:pic>
        <p:nvPicPr>
          <p:cNvPr id="6" name="Picture 5" descr="A large building&#10;&#10;Description generated with very high confidence">
            <a:extLst>
              <a:ext uri="{FF2B5EF4-FFF2-40B4-BE49-F238E27FC236}">
                <a16:creationId xmlns:a16="http://schemas.microsoft.com/office/drawing/2014/main" id="{075B3685-0A56-4902-88BA-FD13A1B7D0C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601" t="74506" r="47555"/>
          <a:stretch/>
        </p:blipFill>
        <p:spPr>
          <a:xfrm>
            <a:off x="4867025" y="1"/>
            <a:ext cx="7324975" cy="6857999"/>
          </a:xfrm>
          <a:custGeom>
            <a:avLst/>
            <a:gdLst>
              <a:gd name="connsiteX0" fmla="*/ 2441889 w 7324975"/>
              <a:gd name="connsiteY0" fmla="*/ 0 h 6857999"/>
              <a:gd name="connsiteX1" fmla="*/ 4883780 w 7324975"/>
              <a:gd name="connsiteY1" fmla="*/ 0 h 6857999"/>
              <a:gd name="connsiteX2" fmla="*/ 4883780 w 7324975"/>
              <a:gd name="connsiteY2" fmla="*/ 2061029 h 6857999"/>
              <a:gd name="connsiteX3" fmla="*/ 7324975 w 7324975"/>
              <a:gd name="connsiteY3" fmla="*/ 2061029 h 6857999"/>
              <a:gd name="connsiteX4" fmla="*/ 7324975 w 7324975"/>
              <a:gd name="connsiteY4" fmla="*/ 6857999 h 6857999"/>
              <a:gd name="connsiteX5" fmla="*/ 0 w 7324975"/>
              <a:gd name="connsiteY5" fmla="*/ 6857999 h 6857999"/>
              <a:gd name="connsiteX6" fmla="*/ 0 w 7324975"/>
              <a:gd name="connsiteY6" fmla="*/ 4267202 h 6857999"/>
              <a:gd name="connsiteX7" fmla="*/ 2441889 w 7324975"/>
              <a:gd name="connsiteY7" fmla="*/ 426720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5" h="6857999">
                <a:moveTo>
                  <a:pt x="2441889" y="0"/>
                </a:moveTo>
                <a:lnTo>
                  <a:pt x="4883780" y="0"/>
                </a:lnTo>
                <a:lnTo>
                  <a:pt x="4883780" y="2061029"/>
                </a:lnTo>
                <a:lnTo>
                  <a:pt x="7324975" y="2061029"/>
                </a:lnTo>
                <a:lnTo>
                  <a:pt x="7324975" y="6857999"/>
                </a:lnTo>
                <a:lnTo>
                  <a:pt x="0" y="6857999"/>
                </a:lnTo>
                <a:lnTo>
                  <a:pt x="0" y="4267202"/>
                </a:lnTo>
                <a:lnTo>
                  <a:pt x="2441889" y="4267202"/>
                </a:lnTo>
                <a:close/>
              </a:path>
            </a:pathLst>
          </a:custGeom>
        </p:spPr>
      </p:pic>
    </p:spTree>
    <p:extLst>
      <p:ext uri="{BB962C8B-B14F-4D97-AF65-F5344CB8AC3E}">
        <p14:creationId xmlns:p14="http://schemas.microsoft.com/office/powerpoint/2010/main" val="3839963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4178842"/>
            <a:ext cx="12191998" cy="1107996"/>
          </a:xfrm>
          <a:solidFill>
            <a:schemeClr val="accent1"/>
          </a:solidFill>
        </p:spPr>
        <p:txBody>
          <a:bodyPr wrap="square" tIns="137160" bIns="137160" anchor="ctr" anchorCtr="0">
            <a:spAutoFit/>
          </a:bodyPr>
          <a:lstStyle>
            <a:lvl1pPr algn="ctr">
              <a:defRPr sz="6000" spc="-98" baseline="0">
                <a:gradFill>
                  <a:gsLst>
                    <a:gs pos="100000">
                      <a:schemeClr val="tx1"/>
                    </a:gs>
                    <a:gs pos="0">
                      <a:schemeClr val="tx1"/>
                    </a:gs>
                  </a:gsLst>
                  <a:lin ang="5400000" scaled="0"/>
                </a:gradFill>
              </a:defRPr>
            </a:lvl1pPr>
          </a:lstStyle>
          <a:p>
            <a:r>
              <a:rPr lang="en-US"/>
              <a:t>Section title</a:t>
            </a:r>
          </a:p>
        </p:txBody>
      </p:sp>
      <p:grpSp>
        <p:nvGrpSpPr>
          <p:cNvPr id="7" name="Group 6">
            <a:extLst>
              <a:ext uri="{FF2B5EF4-FFF2-40B4-BE49-F238E27FC236}">
                <a16:creationId xmlns:a16="http://schemas.microsoft.com/office/drawing/2014/main" id="{A5EDEADA-00A4-4A61-B6F7-7AB4F12D948A}"/>
              </a:ext>
            </a:extLst>
          </p:cNvPr>
          <p:cNvGrpSpPr/>
          <p:nvPr userDrawn="1"/>
        </p:nvGrpSpPr>
        <p:grpSpPr>
          <a:xfrm>
            <a:off x="4949371" y="1125550"/>
            <a:ext cx="2293258" cy="2303450"/>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Tree>
    <p:extLst>
      <p:ext uri="{BB962C8B-B14F-4D97-AF65-F5344CB8AC3E}">
        <p14:creationId xmlns:p14="http://schemas.microsoft.com/office/powerpoint/2010/main" val="332020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_Divider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userDrawn="1"/>
        </p:nvGrpSpPr>
        <p:grpSpPr>
          <a:xfrm>
            <a:off x="8254857" y="2105806"/>
            <a:ext cx="2758947" cy="2646387"/>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049528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6_Divider Slide">
    <p:bg>
      <p:bgPr>
        <a:solidFill>
          <a:srgbClr val="30E5D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solidFill>
                  <a:srgbClr val="3C3C41"/>
                </a:soli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userDrawn="1"/>
        </p:nvGrpSpPr>
        <p:grpSpPr>
          <a:xfrm>
            <a:off x="4716526" y="2105807"/>
            <a:ext cx="2758947" cy="2646387"/>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008272"/>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008272"/>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C3C41"/>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430666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334001" y="0"/>
            <a:ext cx="6858000" cy="6858000"/>
          </a:xfrm>
          <a:prstGeom prst="rect">
            <a:avLst/>
          </a:prstGeom>
        </p:spPr>
      </p:pic>
    </p:spTree>
    <p:extLst>
      <p:ext uri="{BB962C8B-B14F-4D97-AF65-F5344CB8AC3E}">
        <p14:creationId xmlns:p14="http://schemas.microsoft.com/office/powerpoint/2010/main" val="401199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 Placeholder 2">
            <a:extLst>
              <a:ext uri="{FF2B5EF4-FFF2-40B4-BE49-F238E27FC236}">
                <a16:creationId xmlns:a16="http://schemas.microsoft.com/office/drawing/2014/main" id="{FFB78D5D-F119-45B2-9CCA-345474BB3850}"/>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5029409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76361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144873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1636322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112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3020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4BBFE4C-5F3D-4798-80C6-D616B6BFCA63}"/>
              </a:ext>
            </a:extLst>
          </p:cNvPr>
          <p:cNvSpPr>
            <a:spLocks noGrp="1"/>
          </p:cNvSpPr>
          <p:nvPr>
            <p:ph type="title"/>
          </p:nvPr>
        </p:nvSpPr>
        <p:spPr>
          <a:xfrm>
            <a:off x="269240" y="289511"/>
            <a:ext cx="11427129" cy="899665"/>
          </a:xfrm>
        </p:spPr>
        <p:txBody>
          <a:bodyPr/>
          <a:lstStyle/>
          <a:p>
            <a:r>
              <a:rPr lang="en-US"/>
              <a:t>Click to edit Master title style</a:t>
            </a:r>
          </a:p>
        </p:txBody>
      </p:sp>
      <p:sp>
        <p:nvSpPr>
          <p:cNvPr id="5" name="Footer Placeholder 4">
            <a:extLst>
              <a:ext uri="{FF2B5EF4-FFF2-40B4-BE49-F238E27FC236}">
                <a16:creationId xmlns:a16="http://schemas.microsoft.com/office/drawing/2014/main" id="{8D84873C-4387-429F-86A0-9B6EBBFAC172}"/>
              </a:ext>
            </a:extLst>
          </p:cNvPr>
          <p:cNvSpPr>
            <a:spLocks noGrp="1"/>
          </p:cNvSpPr>
          <p:nvPr>
            <p:ph type="ftr" sz="quarter" idx="10"/>
          </p:nvPr>
        </p:nvSpPr>
        <p:spPr/>
        <p:txBody>
          <a:bodyPr/>
          <a:lstStyle/>
          <a:p>
            <a:r>
              <a:rPr lang="en-US"/>
              <a:t>MICROSOFT CONFIDENTIAL</a:t>
            </a:r>
          </a:p>
        </p:txBody>
      </p:sp>
      <p:sp>
        <p:nvSpPr>
          <p:cNvPr id="8" name="Slide Number Placeholder 7">
            <a:extLst>
              <a:ext uri="{FF2B5EF4-FFF2-40B4-BE49-F238E27FC236}">
                <a16:creationId xmlns:a16="http://schemas.microsoft.com/office/drawing/2014/main" id="{AAD87AF5-ADE3-4C3D-A273-CEB190DDD102}"/>
              </a:ext>
            </a:extLst>
          </p:cNvPr>
          <p:cNvSpPr>
            <a:spLocks noGrp="1"/>
          </p:cNvSpPr>
          <p:nvPr>
            <p:ph type="sldNum" sz="quarter" idx="11"/>
          </p:nvPr>
        </p:nvSpPr>
        <p:spPr/>
        <p:txBody>
          <a:bodyPr/>
          <a:lstStyle/>
          <a:p>
            <a:fld id="{AA51F4C4-43BE-4293-9866-908CCEECE991}" type="slidenum">
              <a:rPr lang="en-US" smtClean="0"/>
              <a:pPr/>
              <a:t>‹#›</a:t>
            </a:fld>
            <a:endParaRPr lang="en-US"/>
          </a:p>
        </p:txBody>
      </p:sp>
    </p:spTree>
    <p:extLst>
      <p:ext uri="{BB962C8B-B14F-4D97-AF65-F5344CB8AC3E}">
        <p14:creationId xmlns:p14="http://schemas.microsoft.com/office/powerpoint/2010/main" val="3603271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0963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715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070" y="3083653"/>
            <a:ext cx="3223861" cy="690695"/>
          </a:xfrm>
          <a:prstGeom prst="rect">
            <a:avLst/>
          </a:prstGeom>
        </p:spPr>
      </p:pic>
    </p:spTree>
    <p:extLst>
      <p:ext uri="{BB962C8B-B14F-4D97-AF65-F5344CB8AC3E}">
        <p14:creationId xmlns:p14="http://schemas.microsoft.com/office/powerpoint/2010/main" val="7474829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678E068-C14F-4C66-B334-0C73536F430A}" type="datetimeFigureOut">
              <a:rPr lang="en-US" smtClean="0">
                <a:solidFill>
                  <a:prstClr val="black">
                    <a:tint val="75000"/>
                  </a:prstClr>
                </a:solidFill>
              </a:rPr>
              <a:pPr/>
              <a:t>1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271565-9B2C-41BC-80A7-78B9C25C55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30679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0198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B7D891-CCF8-4329-AF74-482134C14ECD}"/>
              </a:ext>
            </a:extLst>
          </p:cNvPr>
          <p:cNvSpPr/>
          <p:nvPr userDrawn="1"/>
        </p:nvSpPr>
        <p:spPr bwMode="auto">
          <a:xfrm>
            <a:off x="580913" y="464766"/>
            <a:ext cx="11249249" cy="5928467"/>
          </a:xfrm>
          <a:prstGeom prst="rect">
            <a:avLst/>
          </a:prstGeom>
          <a:solidFill>
            <a:schemeClr val="accent4"/>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srgbClr val="3C3C41">
                  <a:tint val="75000"/>
                </a:srgbClr>
              </a:solidFill>
              <a:effectLst/>
              <a:uLnTx/>
              <a:uFillTx/>
              <a:latin typeface="Segoe UI"/>
              <a:ea typeface="+mn-ea"/>
              <a:cs typeface="+mn-cs"/>
            </a:endParaRP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3386297" y="1345338"/>
            <a:ext cx="5638481" cy="1619023"/>
          </a:xfrm>
        </p:spPr>
        <p:txBody>
          <a:bodyPr anchor="b"/>
          <a:lstStyle>
            <a:lvl1pPr algn="ctr">
              <a:defRPr kumimoji="0" lang="en-US" sz="4800" b="1" i="0" u="none" strike="noStrike" kern="1200" cap="none" spc="-50" normalizeH="0" baseline="0" dirty="0">
                <a:ln w="3175">
                  <a:noFill/>
                </a:ln>
                <a:solidFill>
                  <a:schemeClr val="accent5"/>
                </a:solidFill>
                <a:effectLst/>
                <a:uLnTx/>
                <a:uFillTx/>
                <a:latin typeface="Segoe UI Semibold"/>
                <a:ea typeface="+mn-ea"/>
                <a:cs typeface="Segoe UI" pitchFamily="34" charset="0"/>
              </a:defRPr>
            </a:lvl1pPr>
          </a:lstStyle>
          <a:p>
            <a:r>
              <a:rPr lang="en-US"/>
              <a:t>Click to edit Master</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2187556" y="3225301"/>
            <a:ext cx="8035962" cy="1600438"/>
          </a:xfrm>
        </p:spPr>
        <p:txBody>
          <a:bodyPr/>
          <a:lstStyle>
            <a:lvl1pPr algn="ctr">
              <a:spcBef>
                <a:spcPts val="1200"/>
              </a:spcBef>
              <a:defRPr sz="2400">
                <a:solidFill>
                  <a:schemeClr val="bg1"/>
                </a:solidFill>
                <a:latin typeface="+mn-lt"/>
              </a:defRPr>
            </a:lvl1pPr>
            <a:lvl2pPr algn="ctr">
              <a:defRPr sz="2000">
                <a:solidFill>
                  <a:schemeClr val="bg1"/>
                </a:solidFill>
                <a:latin typeface="+mn-lt"/>
              </a:defRPr>
            </a:lvl2pPr>
            <a:lvl3pPr algn="ctr">
              <a:defRPr sz="1800">
                <a:solidFill>
                  <a:schemeClr val="bg1"/>
                </a:solidFill>
                <a:latin typeface="+mn-lt"/>
              </a:defRPr>
            </a:lvl3pPr>
            <a:lvl4pPr algn="ctr">
              <a:defRPr sz="1800">
                <a:solidFill>
                  <a:schemeClr val="bg1"/>
                </a:solidFill>
                <a:latin typeface="+mn-lt"/>
              </a:defRPr>
            </a:lvl4pPr>
            <a:lvl5pPr algn="ctr">
              <a:defRPr sz="12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9168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664797"/>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2858219"/>
          </a:xfrm>
        </p:spPr>
        <p:txBody>
          <a:bodyPr/>
          <a:lstStyle>
            <a:lvl1pPr>
              <a:lnSpc>
                <a:spcPct val="100000"/>
              </a:lnSpc>
              <a:spcBef>
                <a:spcPts val="1600"/>
              </a:spcBef>
              <a:defRPr/>
            </a:lvl1pPr>
            <a:lvl2pPr marL="1528195" indent="-524920" defTabSz="1667892">
              <a:lnSpc>
                <a:spcPct val="100000"/>
              </a:lnSpc>
              <a:spcBef>
                <a:spcPts val="400"/>
              </a:spcBef>
              <a:defRPr/>
            </a:lvl2pPr>
            <a:lvl3pPr marL="2216095" indent="-459306">
              <a:lnSpc>
                <a:spcPct val="100000"/>
              </a:lnSpc>
              <a:defRPr/>
            </a:lvl3pPr>
            <a:lvl4pPr marL="2825680" indent="-459306">
              <a:lnSpc>
                <a:spcPct val="100000"/>
              </a:lnSpc>
              <a:defRPr/>
            </a:lvl4pPr>
            <a:lvl5pPr marL="3433148" indent="-446606">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4941576"/>
      </p:ext>
    </p:extLst>
  </p:cSld>
  <p:clrMapOvr>
    <a:masterClrMapping/>
  </p:clrMapOvr>
  <p:transition spd="slow">
    <p:push/>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9" y="228601"/>
            <a:ext cx="11296417" cy="6647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489079" y="1447802"/>
            <a:ext cx="11296416" cy="2667397"/>
          </a:xfrm>
        </p:spPr>
        <p:txBody>
          <a:bodyPr/>
          <a:lstStyle>
            <a:lvl1pPr marL="0" indent="0">
              <a:spcBef>
                <a:spcPts val="1600"/>
              </a:spcBef>
              <a:buNone/>
              <a:defRPr baseline="0">
                <a:solidFill>
                  <a:schemeClr val="tx1"/>
                </a:solidFill>
              </a:defRPr>
            </a:lvl1pPr>
            <a:lvl2pPr marL="922844" indent="-524920" defTabSz="1367332">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8947410"/>
      </p:ext>
    </p:extLst>
  </p:cSld>
  <p:clrMapOvr>
    <a:masterClrMapping/>
  </p:clrMapOvr>
  <p:transition spd="slow">
    <p:push/>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664797"/>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73017425"/>
      </p:ext>
    </p:extLst>
  </p:cSld>
  <p:clrMapOvr>
    <a:masterClrMapping/>
  </p:clrMapOvr>
  <p:transition spd="slow">
    <p:push/>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764585"/>
          </a:xfrm>
        </p:spPr>
        <p:txBody>
          <a:bodyPr/>
          <a:lstStyle>
            <a:lvl1pPr>
              <a:defRPr>
                <a:solidFill>
                  <a:schemeClr val="tx1"/>
                </a:solidFill>
              </a:defRPr>
            </a:lvl1pPr>
            <a:lvl2pPr>
              <a:defRPr spc="-93" baseline="0">
                <a:solidFill>
                  <a:schemeClr val="tx1"/>
                </a:solidFill>
              </a:defRPr>
            </a:lvl2pPr>
            <a:lvl3pP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322465438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1852644"/>
          </a:xfrm>
        </p:spPr>
        <p:txBody>
          <a:bodyPr/>
          <a:lstStyle>
            <a:lvl1pPr marL="0" indent="0">
              <a:buNone/>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384936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644827"/>
          </a:xfrm>
        </p:spPr>
        <p:txBody>
          <a:bodyPr wrap="square">
            <a:spAutoFit/>
          </a:bodyPr>
          <a:lstStyle>
            <a:lvl1pPr marL="287331" indent="-287331">
              <a:spcBef>
                <a:spcPts val="1224"/>
              </a:spcBef>
              <a:buClrTx/>
              <a:buFont typeface="Arial" pitchFamily="34" charset="0"/>
              <a:buChar char="•"/>
              <a:defRPr sz="3600">
                <a:solidFill>
                  <a:schemeClr val="tx1"/>
                </a:soli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644827"/>
          </a:xfrm>
        </p:spPr>
        <p:txBody>
          <a:bodyPr wrap="square">
            <a:spAutoFit/>
          </a:bodyPr>
          <a:lstStyle>
            <a:lvl1pPr marL="609585" indent="-609585">
              <a:spcBef>
                <a:spcPts val="1224"/>
              </a:spcBef>
              <a:buClrTx/>
              <a:buFont typeface="Arial" panose="020B0604020202020204" pitchFamily="34" charset="0"/>
              <a:buChar char="•"/>
              <a:defRPr sz="3600">
                <a:solidFill>
                  <a:schemeClr val="tx1"/>
                </a:soli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86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203943"/>
            <a:ext cx="4167887" cy="1329595"/>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9" y="965103"/>
            <a:ext cx="6856412" cy="5136868"/>
          </a:xfrm>
          <a:prstGeom prst="rect">
            <a:avLst/>
          </a:prstGeom>
        </p:spPr>
      </p:pic>
    </p:spTree>
    <p:extLst>
      <p:ext uri="{BB962C8B-B14F-4D97-AF65-F5344CB8AC3E}">
        <p14:creationId xmlns:p14="http://schemas.microsoft.com/office/powerpoint/2010/main" val="320791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798566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6673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90557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0445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marL="571486" indent="-571486">
              <a:buFont typeface="Wingdings" panose="05000000000000000000" pitchFamily="2" charset="2"/>
              <a:buChar char="§"/>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2667397"/>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724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1619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2667397"/>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9188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le with content alterna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1143000"/>
            <a:ext cx="11176000" cy="2892416"/>
          </a:xfrm>
        </p:spPr>
        <p:txBody>
          <a:bodyPr/>
          <a:lstStyle>
            <a:lvl1pPr>
              <a:lnSpc>
                <a:spcPct val="100000"/>
              </a:lnSpc>
              <a:defRPr/>
            </a:lvl1pPr>
            <a:lvl2pPr>
              <a:lnSpc>
                <a:spcPct val="100000"/>
              </a:lnSpc>
              <a:spcBef>
                <a:spcPts val="0"/>
              </a:spcBef>
              <a:spcAft>
                <a:spcPts val="600"/>
              </a:spcAft>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3" descr="\\server3\Restrict\FTP_Root\Clients\White_Whale\8-10103_JenniferMoser\SFP_Art\smsgr logo-horizontal-white-big.png"/>
          <p:cNvPicPr>
            <a:picLocks noChangeAspect="1" noChangeArrowheads="1"/>
          </p:cNvPicPr>
          <p:nvPr userDrawn="1"/>
        </p:nvPicPr>
        <p:blipFill>
          <a:blip r:embed="rId2"/>
          <a:stretch>
            <a:fillRect/>
          </a:stretch>
        </p:blipFill>
        <p:spPr bwMode="auto">
          <a:xfrm>
            <a:off x="517288" y="6447574"/>
            <a:ext cx="4735845" cy="237703"/>
          </a:xfrm>
          <a:prstGeom prst="rect">
            <a:avLst/>
          </a:prstGeom>
          <a:noFill/>
        </p:spPr>
      </p:pic>
    </p:spTree>
    <p:extLst>
      <p:ext uri="{BB962C8B-B14F-4D97-AF65-F5344CB8AC3E}">
        <p14:creationId xmlns:p14="http://schemas.microsoft.com/office/powerpoint/2010/main" val="52114031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3"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44466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89431454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nvPr>
        </p:nvGraphicFramePr>
        <p:xfrm>
          <a:off x="1590" y="1589"/>
          <a:ext cx="1588" cy="1587"/>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89"/>
                        <a:ext cx="1588" cy="1587"/>
                      </a:xfrm>
                      <a:prstGeom prst="rect">
                        <a:avLst/>
                      </a:prstGeom>
                    </p:spPr>
                  </p:pic>
                </p:oleObj>
              </mc:Fallback>
            </mc:AlternateContent>
          </a:graphicData>
        </a:graphic>
      </p:graphicFrame>
      <p:sp>
        <p:nvSpPr>
          <p:cNvPr id="2" name="Title 1"/>
          <p:cNvSpPr>
            <a:spLocks noGrp="1"/>
          </p:cNvSpPr>
          <p:nvPr>
            <p:ph type="title"/>
          </p:nvPr>
        </p:nvSpPr>
        <p:spPr>
          <a:xfrm>
            <a:off x="489078" y="228603"/>
            <a:ext cx="11296417" cy="664797"/>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89078" y="1444754"/>
            <a:ext cx="11296417" cy="2845523"/>
          </a:xfrm>
        </p:spPr>
        <p:txBody>
          <a:bodyPr/>
          <a:lstStyle>
            <a:lvl1pPr>
              <a:lnSpc>
                <a:spcPct val="100000"/>
              </a:lnSpc>
              <a:spcBef>
                <a:spcPts val="1200"/>
              </a:spcBef>
              <a:defRPr/>
            </a:lvl1pPr>
            <a:lvl2pPr marL="1146118" indent="-393681" defTabSz="1250887">
              <a:lnSpc>
                <a:spcPct val="100000"/>
              </a:lnSpc>
              <a:spcBef>
                <a:spcPts val="300"/>
              </a:spcBef>
              <a:defRPr/>
            </a:lvl2pPr>
            <a:lvl3pPr marL="1662030" indent="-344470">
              <a:lnSpc>
                <a:spcPct val="100000"/>
              </a:lnSpc>
              <a:defRPr/>
            </a:lvl3pPr>
            <a:lvl4pPr marL="2119207" indent="-344470">
              <a:lnSpc>
                <a:spcPct val="100000"/>
              </a:lnSpc>
              <a:defRPr/>
            </a:lvl4pPr>
            <a:lvl5pPr marL="2574797" indent="-334946">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8139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64869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78694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459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41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24117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846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2877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36235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042730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65604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3" name="Text Placeholder 2">
            <a:extLst>
              <a:ext uri="{FF2B5EF4-FFF2-40B4-BE49-F238E27FC236}">
                <a16:creationId xmlns:a16="http://schemas.microsoft.com/office/drawing/2014/main" id="{F3C4294E-A401-4481-9D82-44A44872035E}"/>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1664934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2150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4"/>
            <a:ext cx="1665340" cy="381989"/>
          </a:xfrm>
          <a:prstGeom prst="rect">
            <a:avLst/>
          </a:prstGeom>
        </p:spPr>
      </p:pic>
    </p:spTree>
    <p:extLst>
      <p:ext uri="{BB962C8B-B14F-4D97-AF65-F5344CB8AC3E}">
        <p14:creationId xmlns:p14="http://schemas.microsoft.com/office/powerpoint/2010/main" val="14561979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11107736" cy="4301789"/>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08489124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2_Blank">
    <p:spTree>
      <p:nvGrpSpPr>
        <p:cNvPr id="1" name=""/>
        <p:cNvGrpSpPr/>
        <p:nvPr/>
      </p:nvGrpSpPr>
      <p:grpSpPr>
        <a:xfrm>
          <a:off x="0" y="0"/>
          <a:ext cx="0" cy="0"/>
          <a:chOff x="0" y="0"/>
          <a:chExt cx="0" cy="0"/>
        </a:xfrm>
      </p:grpSpPr>
      <p:sp>
        <p:nvSpPr>
          <p:cNvPr id="25" name="Picture Placeholder 22">
            <a:extLst>
              <a:ext uri="{FF2B5EF4-FFF2-40B4-BE49-F238E27FC236}">
                <a16:creationId xmlns:a16="http://schemas.microsoft.com/office/drawing/2014/main" id="{4F2BF4AF-5230-5043-BD04-D6DB90E8E61C}"/>
              </a:ext>
            </a:extLst>
          </p:cNvPr>
          <p:cNvSpPr>
            <a:spLocks noGrp="1"/>
          </p:cNvSpPr>
          <p:nvPr>
            <p:ph type="pic" sz="quarter" idx="24" hasCustomPrompt="1"/>
          </p:nvPr>
        </p:nvSpPr>
        <p:spPr>
          <a:xfrm>
            <a:off x="1333500"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26" name="Picture Placeholder 22">
            <a:extLst>
              <a:ext uri="{FF2B5EF4-FFF2-40B4-BE49-F238E27FC236}">
                <a16:creationId xmlns:a16="http://schemas.microsoft.com/office/drawing/2014/main" id="{2B23C36D-C7F4-D64D-9453-593840C84DD8}"/>
              </a:ext>
            </a:extLst>
          </p:cNvPr>
          <p:cNvSpPr>
            <a:spLocks noGrp="1"/>
          </p:cNvSpPr>
          <p:nvPr>
            <p:ph type="pic" sz="quarter" idx="25" hasCustomPrompt="1"/>
          </p:nvPr>
        </p:nvSpPr>
        <p:spPr>
          <a:xfrm>
            <a:off x="4610100"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27" name="Picture Placeholder 22">
            <a:extLst>
              <a:ext uri="{FF2B5EF4-FFF2-40B4-BE49-F238E27FC236}">
                <a16:creationId xmlns:a16="http://schemas.microsoft.com/office/drawing/2014/main" id="{4646E9FF-BF3F-9D49-A782-F9F86BA576AC}"/>
              </a:ext>
            </a:extLst>
          </p:cNvPr>
          <p:cNvSpPr>
            <a:spLocks noGrp="1"/>
          </p:cNvSpPr>
          <p:nvPr>
            <p:ph type="pic" sz="quarter" idx="26" hasCustomPrompt="1"/>
          </p:nvPr>
        </p:nvSpPr>
        <p:spPr>
          <a:xfrm>
            <a:off x="7887161" y="19451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28" name="Text Placeholder 3">
            <a:extLst>
              <a:ext uri="{FF2B5EF4-FFF2-40B4-BE49-F238E27FC236}">
                <a16:creationId xmlns:a16="http://schemas.microsoft.com/office/drawing/2014/main" id="{0951244D-BEDD-834F-A2AF-0DACC0856EC7}"/>
              </a:ext>
            </a:extLst>
          </p:cNvPr>
          <p:cNvSpPr>
            <a:spLocks noGrp="1"/>
          </p:cNvSpPr>
          <p:nvPr>
            <p:ph type="body" sz="quarter" idx="28" hasCustomPrompt="1"/>
          </p:nvPr>
        </p:nvSpPr>
        <p:spPr>
          <a:xfrm>
            <a:off x="1333500"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29" name="Text Placeholder 3">
            <a:extLst>
              <a:ext uri="{FF2B5EF4-FFF2-40B4-BE49-F238E27FC236}">
                <a16:creationId xmlns:a16="http://schemas.microsoft.com/office/drawing/2014/main" id="{AA8C1B34-7F6B-4047-98E3-A64347D71D63}"/>
              </a:ext>
            </a:extLst>
          </p:cNvPr>
          <p:cNvSpPr>
            <a:spLocks noGrp="1"/>
          </p:cNvSpPr>
          <p:nvPr>
            <p:ph type="body" sz="quarter" idx="29" hasCustomPrompt="1"/>
          </p:nvPr>
        </p:nvSpPr>
        <p:spPr>
          <a:xfrm>
            <a:off x="4610100"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0" name="Text Placeholder 3">
            <a:extLst>
              <a:ext uri="{FF2B5EF4-FFF2-40B4-BE49-F238E27FC236}">
                <a16:creationId xmlns:a16="http://schemas.microsoft.com/office/drawing/2014/main" id="{02ADFCF8-D901-434A-92A1-5D5EDCFA687B}"/>
              </a:ext>
            </a:extLst>
          </p:cNvPr>
          <p:cNvSpPr>
            <a:spLocks noGrp="1"/>
          </p:cNvSpPr>
          <p:nvPr>
            <p:ph type="body" sz="quarter" idx="30" hasCustomPrompt="1"/>
          </p:nvPr>
        </p:nvSpPr>
        <p:spPr>
          <a:xfrm>
            <a:off x="7887161" y="26036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1" name="Text Placeholder 3">
            <a:extLst>
              <a:ext uri="{FF2B5EF4-FFF2-40B4-BE49-F238E27FC236}">
                <a16:creationId xmlns:a16="http://schemas.microsoft.com/office/drawing/2014/main" id="{1ED87960-0830-8F42-A57A-D5422688AEC3}"/>
              </a:ext>
            </a:extLst>
          </p:cNvPr>
          <p:cNvSpPr>
            <a:spLocks noGrp="1"/>
          </p:cNvSpPr>
          <p:nvPr>
            <p:ph type="body" sz="quarter" idx="32" hasCustomPrompt="1"/>
          </p:nvPr>
        </p:nvSpPr>
        <p:spPr>
          <a:xfrm>
            <a:off x="1333500"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2" name="Text Placeholder 3">
            <a:extLst>
              <a:ext uri="{FF2B5EF4-FFF2-40B4-BE49-F238E27FC236}">
                <a16:creationId xmlns:a16="http://schemas.microsoft.com/office/drawing/2014/main" id="{6A98993B-4D00-DE4D-AB2C-040957EE1472}"/>
              </a:ext>
            </a:extLst>
          </p:cNvPr>
          <p:cNvSpPr>
            <a:spLocks noGrp="1"/>
          </p:cNvSpPr>
          <p:nvPr>
            <p:ph type="body" sz="quarter" idx="33" hasCustomPrompt="1"/>
          </p:nvPr>
        </p:nvSpPr>
        <p:spPr>
          <a:xfrm>
            <a:off x="4610100"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3" name="Text Placeholder 3">
            <a:extLst>
              <a:ext uri="{FF2B5EF4-FFF2-40B4-BE49-F238E27FC236}">
                <a16:creationId xmlns:a16="http://schemas.microsoft.com/office/drawing/2014/main" id="{2D65F315-5338-9943-A4A5-84646C562D0A}"/>
              </a:ext>
            </a:extLst>
          </p:cNvPr>
          <p:cNvSpPr>
            <a:spLocks noGrp="1"/>
          </p:cNvSpPr>
          <p:nvPr>
            <p:ph type="body" sz="quarter" idx="34" hasCustomPrompt="1"/>
          </p:nvPr>
        </p:nvSpPr>
        <p:spPr>
          <a:xfrm>
            <a:off x="7887161" y="29772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34" name="Picture Placeholder 22">
            <a:extLst>
              <a:ext uri="{FF2B5EF4-FFF2-40B4-BE49-F238E27FC236}">
                <a16:creationId xmlns:a16="http://schemas.microsoft.com/office/drawing/2014/main" id="{91BC1F83-8F48-834E-8A2E-7C1A26DA3F5D}"/>
              </a:ext>
            </a:extLst>
          </p:cNvPr>
          <p:cNvSpPr>
            <a:spLocks noGrp="1"/>
          </p:cNvSpPr>
          <p:nvPr>
            <p:ph type="pic" sz="quarter" idx="35" hasCustomPrompt="1"/>
          </p:nvPr>
        </p:nvSpPr>
        <p:spPr>
          <a:xfrm>
            <a:off x="1333500"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35" name="Picture Placeholder 22">
            <a:extLst>
              <a:ext uri="{FF2B5EF4-FFF2-40B4-BE49-F238E27FC236}">
                <a16:creationId xmlns:a16="http://schemas.microsoft.com/office/drawing/2014/main" id="{2ABF9046-AD0F-DF49-8CD8-8593BEF55531}"/>
              </a:ext>
            </a:extLst>
          </p:cNvPr>
          <p:cNvSpPr>
            <a:spLocks noGrp="1"/>
          </p:cNvSpPr>
          <p:nvPr>
            <p:ph type="pic" sz="quarter" idx="36" hasCustomPrompt="1"/>
          </p:nvPr>
        </p:nvSpPr>
        <p:spPr>
          <a:xfrm>
            <a:off x="4610100"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36" name="Picture Placeholder 22">
            <a:extLst>
              <a:ext uri="{FF2B5EF4-FFF2-40B4-BE49-F238E27FC236}">
                <a16:creationId xmlns:a16="http://schemas.microsoft.com/office/drawing/2014/main" id="{AEDD8213-E668-384A-835B-EC6DC8F8C888}"/>
              </a:ext>
            </a:extLst>
          </p:cNvPr>
          <p:cNvSpPr>
            <a:spLocks noGrp="1"/>
          </p:cNvSpPr>
          <p:nvPr>
            <p:ph type="pic" sz="quarter" idx="37" hasCustomPrompt="1"/>
          </p:nvPr>
        </p:nvSpPr>
        <p:spPr>
          <a:xfrm>
            <a:off x="7887161" y="4078700"/>
            <a:ext cx="640080" cy="640080"/>
          </a:xfrm>
        </p:spPr>
        <p:txBody>
          <a:bodyPr>
            <a:noAutofit/>
          </a:bodyPr>
          <a:lstStyle>
            <a:lvl1pPr>
              <a:defRPr sz="1600">
                <a:solidFill>
                  <a:schemeClr val="tx1"/>
                </a:solidFill>
              </a:defRPr>
            </a:lvl1pPr>
          </a:lstStyle>
          <a:p>
            <a:pPr marL="228600" marR="0" lvl="0" indent="-228600" algn="l" defTabSz="914400" rtl="0" eaLnBrk="1" fontAlgn="auto" latinLnBrk="0" hangingPunct="1">
              <a:lnSpc>
                <a:spcPct val="100000"/>
              </a:lnSpc>
              <a:spcBef>
                <a:spcPts val="1000"/>
              </a:spcBef>
              <a:spcAft>
                <a:spcPts val="0"/>
              </a:spcAft>
              <a:buClrTx/>
              <a:buSzTx/>
              <a:buFont typeface="Arial"/>
              <a:buNone/>
              <a:tabLst/>
              <a:defRPr/>
            </a:pPr>
            <a:r>
              <a:rPr lang="en-US" dirty="0"/>
              <a:t>icon</a:t>
            </a:r>
          </a:p>
        </p:txBody>
      </p:sp>
      <p:sp>
        <p:nvSpPr>
          <p:cNvPr id="37" name="Text Placeholder 3">
            <a:extLst>
              <a:ext uri="{FF2B5EF4-FFF2-40B4-BE49-F238E27FC236}">
                <a16:creationId xmlns:a16="http://schemas.microsoft.com/office/drawing/2014/main" id="{C1D4C38D-0773-9D47-BE18-10088592A360}"/>
              </a:ext>
            </a:extLst>
          </p:cNvPr>
          <p:cNvSpPr>
            <a:spLocks noGrp="1"/>
          </p:cNvSpPr>
          <p:nvPr>
            <p:ph type="body" sz="quarter" idx="38" hasCustomPrompt="1"/>
          </p:nvPr>
        </p:nvSpPr>
        <p:spPr>
          <a:xfrm>
            <a:off x="1333500"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8" name="Text Placeholder 3">
            <a:extLst>
              <a:ext uri="{FF2B5EF4-FFF2-40B4-BE49-F238E27FC236}">
                <a16:creationId xmlns:a16="http://schemas.microsoft.com/office/drawing/2014/main" id="{D7E7BC30-892F-944E-A770-12D888122AA0}"/>
              </a:ext>
            </a:extLst>
          </p:cNvPr>
          <p:cNvSpPr>
            <a:spLocks noGrp="1"/>
          </p:cNvSpPr>
          <p:nvPr>
            <p:ph type="body" sz="quarter" idx="39" hasCustomPrompt="1"/>
          </p:nvPr>
        </p:nvSpPr>
        <p:spPr>
          <a:xfrm>
            <a:off x="4610100"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39" name="Text Placeholder 3">
            <a:extLst>
              <a:ext uri="{FF2B5EF4-FFF2-40B4-BE49-F238E27FC236}">
                <a16:creationId xmlns:a16="http://schemas.microsoft.com/office/drawing/2014/main" id="{C6510C14-14BB-7E4D-B36A-5D05F632D015}"/>
              </a:ext>
            </a:extLst>
          </p:cNvPr>
          <p:cNvSpPr>
            <a:spLocks noGrp="1"/>
          </p:cNvSpPr>
          <p:nvPr>
            <p:ph type="body" sz="quarter" idx="40" hasCustomPrompt="1"/>
          </p:nvPr>
        </p:nvSpPr>
        <p:spPr>
          <a:xfrm>
            <a:off x="7887161" y="4737252"/>
            <a:ext cx="3017520" cy="373626"/>
          </a:xfrm>
        </p:spPr>
        <p:txBody>
          <a:bodyPr vert="horz" lIns="0" tIns="45720" rIns="0" bIns="0" rtlCol="0" anchor="b">
            <a:normAutofit/>
          </a:bodyPr>
          <a:lstStyle>
            <a:lvl1pPr>
              <a:defRPr lang="en-US" sz="1800" baseline="0" dirty="0"/>
            </a:lvl1pPr>
          </a:lstStyle>
          <a:p>
            <a:pPr marL="0" lvl="0" indent="0">
              <a:buNone/>
            </a:pPr>
            <a:r>
              <a:rPr lang="en-US"/>
              <a:t>Subtitle</a:t>
            </a:r>
          </a:p>
        </p:txBody>
      </p:sp>
      <p:sp>
        <p:nvSpPr>
          <p:cNvPr id="40" name="Text Placeholder 3">
            <a:extLst>
              <a:ext uri="{FF2B5EF4-FFF2-40B4-BE49-F238E27FC236}">
                <a16:creationId xmlns:a16="http://schemas.microsoft.com/office/drawing/2014/main" id="{44C04F68-3285-4A46-AB21-BB86135AB0ED}"/>
              </a:ext>
            </a:extLst>
          </p:cNvPr>
          <p:cNvSpPr>
            <a:spLocks noGrp="1"/>
          </p:cNvSpPr>
          <p:nvPr>
            <p:ph type="body" sz="quarter" idx="41" hasCustomPrompt="1"/>
          </p:nvPr>
        </p:nvSpPr>
        <p:spPr>
          <a:xfrm>
            <a:off x="1333500"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1" name="Text Placeholder 3">
            <a:extLst>
              <a:ext uri="{FF2B5EF4-FFF2-40B4-BE49-F238E27FC236}">
                <a16:creationId xmlns:a16="http://schemas.microsoft.com/office/drawing/2014/main" id="{1B70DEFE-381C-C94B-9437-184AA8E5E8C2}"/>
              </a:ext>
            </a:extLst>
          </p:cNvPr>
          <p:cNvSpPr>
            <a:spLocks noGrp="1"/>
          </p:cNvSpPr>
          <p:nvPr>
            <p:ph type="body" sz="quarter" idx="42" hasCustomPrompt="1"/>
          </p:nvPr>
        </p:nvSpPr>
        <p:spPr>
          <a:xfrm>
            <a:off x="4610100"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2" name="Text Placeholder 3">
            <a:extLst>
              <a:ext uri="{FF2B5EF4-FFF2-40B4-BE49-F238E27FC236}">
                <a16:creationId xmlns:a16="http://schemas.microsoft.com/office/drawing/2014/main" id="{47E60C72-8851-4E44-807A-ACDB9CB190F3}"/>
              </a:ext>
            </a:extLst>
          </p:cNvPr>
          <p:cNvSpPr>
            <a:spLocks noGrp="1"/>
          </p:cNvSpPr>
          <p:nvPr>
            <p:ph type="body" sz="quarter" idx="43" hasCustomPrompt="1"/>
          </p:nvPr>
        </p:nvSpPr>
        <p:spPr>
          <a:xfrm>
            <a:off x="7887161" y="5110878"/>
            <a:ext cx="3017520" cy="822614"/>
          </a:xfrm>
        </p:spPr>
        <p:txBody>
          <a:bodyPr lIns="0" tIns="91440" rIns="0" anchor="t">
            <a:normAutofit/>
          </a:bodyPr>
          <a:lstStyle>
            <a:lvl1pPr marL="0" indent="0">
              <a:buNone/>
              <a:defRPr sz="1200" b="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Text goes here</a:t>
            </a:r>
          </a:p>
        </p:txBody>
      </p:sp>
      <p:sp>
        <p:nvSpPr>
          <p:cNvPr id="43" name="Text Placeholder 3">
            <a:extLst>
              <a:ext uri="{FF2B5EF4-FFF2-40B4-BE49-F238E27FC236}">
                <a16:creationId xmlns:a16="http://schemas.microsoft.com/office/drawing/2014/main" id="{18D99BCD-FAE9-3042-965B-DDE31A5D1627}"/>
              </a:ext>
            </a:extLst>
          </p:cNvPr>
          <p:cNvSpPr>
            <a:spLocks noGrp="1"/>
          </p:cNvSpPr>
          <p:nvPr>
            <p:ph type="body" sz="quarter" idx="44" hasCustomPrompt="1"/>
          </p:nvPr>
        </p:nvSpPr>
        <p:spPr>
          <a:xfrm>
            <a:off x="9143999" y="5776638"/>
            <a:ext cx="2594269" cy="624161"/>
          </a:xfrm>
        </p:spPr>
        <p:txBody>
          <a:bodyPr tIns="91440" anchor="b">
            <a:normAutofit/>
          </a:bodyPr>
          <a:lstStyle>
            <a:lvl1pPr marL="0" indent="0" algn="r">
              <a:lnSpc>
                <a:spcPct val="100000"/>
              </a:lnSpc>
              <a:spcBef>
                <a:spcPts val="0"/>
              </a:spcBef>
              <a:buNone/>
              <a:defRPr sz="900" b="0" baseline="0">
                <a:solidFill>
                  <a:schemeClr val="accent6">
                    <a:lumMod val="75000"/>
                  </a:schemeClr>
                </a:solidFill>
                <a:latin typeface="Segoe UI" panose="020B0502040204020203" pitchFamily="34" charset="0"/>
                <a:ea typeface="Segoe UI" panose="020B0502040204020203" pitchFamily="34" charset="0"/>
                <a:cs typeface="Segoe UI" panose="020B0502040204020203" pitchFamily="34" charset="0"/>
              </a:defRPr>
            </a:lvl1pPr>
            <a:lvl2pPr marL="457200" indent="0">
              <a:buNone/>
              <a:defRPr/>
            </a:lvl2pPr>
          </a:lstStyle>
          <a:p>
            <a:pPr lvl="0"/>
            <a:r>
              <a:rPr lang="en-US"/>
              <a:t>Sources:</a:t>
            </a:r>
          </a:p>
          <a:p>
            <a:pPr lvl="0"/>
            <a:r>
              <a:rPr lang="en-US"/>
              <a:t>1.</a:t>
            </a:r>
          </a:p>
          <a:p>
            <a:pPr lvl="0"/>
            <a:r>
              <a:rPr lang="en-US"/>
              <a:t>2.</a:t>
            </a:r>
          </a:p>
          <a:p>
            <a:pPr lvl="0"/>
            <a:r>
              <a:rPr lang="en-US"/>
              <a:t>3.</a:t>
            </a:r>
          </a:p>
        </p:txBody>
      </p:sp>
      <p:sp>
        <p:nvSpPr>
          <p:cNvPr id="44" name="Text Placeholder 5">
            <a:extLst>
              <a:ext uri="{FF2B5EF4-FFF2-40B4-BE49-F238E27FC236}">
                <a16:creationId xmlns:a16="http://schemas.microsoft.com/office/drawing/2014/main" id="{07F288DE-0CA7-294F-A781-9F3D10F15799}"/>
              </a:ext>
            </a:extLst>
          </p:cNvPr>
          <p:cNvSpPr>
            <a:spLocks noGrp="1"/>
          </p:cNvSpPr>
          <p:nvPr>
            <p:ph type="body" sz="quarter" idx="10" hasCustomPrompt="1"/>
          </p:nvPr>
        </p:nvSpPr>
        <p:spPr>
          <a:xfrm>
            <a:off x="457200" y="1311482"/>
            <a:ext cx="8686800" cy="441117"/>
          </a:xfrm>
        </p:spPr>
        <p:txBody>
          <a:bodyPr vert="horz" lIns="0" tIns="0" rIns="0" bIns="0" rtlCol="0" anchor="t">
            <a:normAutofit/>
          </a:bodyPr>
          <a:lstStyle>
            <a:lvl1pPr>
              <a:defRPr kumimoji="0" lang="en-US" sz="1600" b="0" u="none" strike="noStrike" cap="none" spc="0" normalizeH="0" baseline="0" dirty="0">
                <a:ln>
                  <a:noFill/>
                </a:ln>
                <a:solidFill>
                  <a:prstClr val="black"/>
                </a:solidFill>
                <a:effectLst/>
                <a:uLnTx/>
                <a:uFillTx/>
                <a:latin typeface="Segoe UI" panose="020B0502040204020203" pitchFamily="34" charset="0"/>
                <a:cs typeface="Segoe UI" panose="020B0502040204020203" pitchFamily="34" charset="0"/>
              </a:defRPr>
            </a:lvl1pPr>
          </a:lstStyle>
          <a:p>
            <a:pPr marL="0" marR="0" lvl="0" indent="0" fontAlgn="auto">
              <a:lnSpc>
                <a:spcPct val="100000"/>
              </a:lnSpc>
              <a:spcBef>
                <a:spcPts val="0"/>
              </a:spcBef>
              <a:spcAft>
                <a:spcPts val="0"/>
              </a:spcAft>
              <a:buClrTx/>
              <a:buSzTx/>
              <a:buFontTx/>
              <a:buNone/>
              <a:tabLst/>
            </a:pPr>
            <a:r>
              <a:rPr lang="en-US"/>
              <a:t>Fourth level</a:t>
            </a:r>
          </a:p>
        </p:txBody>
      </p:sp>
      <p:sp>
        <p:nvSpPr>
          <p:cNvPr id="45" name="Title 1">
            <a:extLst>
              <a:ext uri="{FF2B5EF4-FFF2-40B4-BE49-F238E27FC236}">
                <a16:creationId xmlns:a16="http://schemas.microsoft.com/office/drawing/2014/main" id="{7E48A50E-43FB-3842-B169-DC008167959E}"/>
              </a:ext>
            </a:extLst>
          </p:cNvPr>
          <p:cNvSpPr>
            <a:spLocks noGrp="1"/>
          </p:cNvSpPr>
          <p:nvPr>
            <p:ph type="title"/>
          </p:nvPr>
        </p:nvSpPr>
        <p:spPr>
          <a:xfrm>
            <a:off x="457200" y="701882"/>
            <a:ext cx="8686800" cy="609600"/>
          </a:xfrm>
        </p:spPr>
        <p:txBody>
          <a:bodyPr vert="horz" lIns="0" tIns="0" rIns="0" bIns="0" rtlCol="0" anchor="ctr">
            <a:noAutofit/>
          </a:bodyPr>
          <a:lstStyle>
            <a:lvl1pPr algn="l" defTabSz="914400" rtl="0" eaLnBrk="1" latinLnBrk="0" hangingPunct="1">
              <a:lnSpc>
                <a:spcPct val="90000"/>
              </a:lnSpc>
              <a:spcBef>
                <a:spcPct val="0"/>
              </a:spcBef>
              <a:buNone/>
              <a:defRPr lang="en-US" sz="3600" b="0" i="0" kern="1200" dirty="0">
                <a:solidFill>
                  <a:schemeClr val="tx1"/>
                </a:solidFill>
                <a:latin typeface="Segoe UI Semibold" panose="020B0502040204020203" pitchFamily="34" charset="0"/>
                <a:ea typeface="+mj-ea"/>
                <a:cs typeface="Segoe UI Semibold" panose="020B0502040204020203" pitchFamily="34" charset="0"/>
              </a:defRPr>
            </a:lvl1pPr>
          </a:lstStyle>
          <a:p>
            <a:pPr lvl="0"/>
            <a:r>
              <a:rPr lang="en-US"/>
              <a:t>Click to edit Master title style</a:t>
            </a:r>
          </a:p>
        </p:txBody>
      </p:sp>
      <p:sp>
        <p:nvSpPr>
          <p:cNvPr id="46" name="Text Placeholder 5">
            <a:extLst>
              <a:ext uri="{FF2B5EF4-FFF2-40B4-BE49-F238E27FC236}">
                <a16:creationId xmlns:a16="http://schemas.microsoft.com/office/drawing/2014/main" id="{71941827-EC1D-3B4B-AACF-847A7A3BF541}"/>
              </a:ext>
            </a:extLst>
          </p:cNvPr>
          <p:cNvSpPr>
            <a:spLocks noGrp="1"/>
          </p:cNvSpPr>
          <p:nvPr>
            <p:ph type="body" sz="quarter" idx="13" hasCustomPrompt="1"/>
          </p:nvPr>
        </p:nvSpPr>
        <p:spPr>
          <a:xfrm>
            <a:off x="457200" y="457200"/>
            <a:ext cx="942887" cy="244682"/>
          </a:xfrm>
          <a:solidFill>
            <a:schemeClr val="accent2"/>
          </a:solidFill>
        </p:spPr>
        <p:txBody>
          <a:bodyPr vert="horz" wrap="none" lIns="91440" tIns="45720" rIns="91440" bIns="45720" rtlCol="0" anchor="ctr">
            <a:spAutoFit/>
          </a:bodyPr>
          <a:lstStyle>
            <a:lvl1pPr marL="0" indent="0">
              <a:buNone/>
              <a:defRPr lang="en-US" sz="1100" dirty="0"/>
            </a:lvl1pPr>
          </a:lstStyle>
          <a:p>
            <a:pPr marL="228600" lvl="0" indent="-228600"/>
            <a:r>
              <a:rPr lang="en-US"/>
              <a:t>Fourth level</a:t>
            </a:r>
          </a:p>
        </p:txBody>
      </p:sp>
    </p:spTree>
    <p:extLst>
      <p:ext uri="{BB962C8B-B14F-4D97-AF65-F5344CB8AC3E}">
        <p14:creationId xmlns:p14="http://schemas.microsoft.com/office/powerpoint/2010/main" val="925180372"/>
      </p:ext>
    </p:extLst>
  </p:cSld>
  <p:clrMapOvr>
    <a:masterClrMapping/>
  </p:clrMapOvr>
  <p:extLst>
    <p:ext uri="{DCECCB84-F9BA-43D5-87BE-67443E8EF086}">
      <p15:sldGuideLst xmlns:p15="http://schemas.microsoft.com/office/powerpoint/2012/main">
        <p15:guide id="4" orient="horz" pos="1224">
          <p15:clr>
            <a:srgbClr val="5ACBF0"/>
          </p15:clr>
        </p15:guide>
        <p15:guide id="7" pos="840">
          <p15:clr>
            <a:srgbClr val="5ACBF0"/>
          </p15:clr>
        </p15:guide>
        <p15:guide id="8" pos="4968">
          <p15:clr>
            <a:srgbClr val="5ACBF0"/>
          </p15:clr>
        </p15:guide>
        <p15:guide id="16" pos="2904">
          <p15:clr>
            <a:srgbClr val="5ACBF0"/>
          </p15:clr>
        </p15:guide>
        <p15:guide id="17" orient="horz" pos="256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8808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3B0674-CEF0-4553-8A48-7F2A186B469C}"/>
              </a:ext>
            </a:extLst>
          </p:cNvPr>
          <p:cNvSpPr>
            <a:spLocks noGrp="1"/>
          </p:cNvSpPr>
          <p:nvPr>
            <p:ph type="title"/>
          </p:nvPr>
        </p:nvSpPr>
        <p:spPr>
          <a:xfrm>
            <a:off x="838201" y="365125"/>
            <a:ext cx="5664200" cy="1325563"/>
          </a:xfrm>
        </p:spPr>
        <p:txBody>
          <a:bodyPr/>
          <a:lstStyle/>
          <a:p>
            <a:r>
              <a:rPr lang="en-US"/>
              <a:t>Click to edit Master title style</a:t>
            </a:r>
            <a:endParaRPr lang="sv-SE" dirty="0"/>
          </a:p>
        </p:txBody>
      </p:sp>
      <p:sp>
        <p:nvSpPr>
          <p:cNvPr id="6" name="Platshållare för bild 5">
            <a:extLst>
              <a:ext uri="{FF2B5EF4-FFF2-40B4-BE49-F238E27FC236}">
                <a16:creationId xmlns:a16="http://schemas.microsoft.com/office/drawing/2014/main" id="{64336200-95B2-44A6-A0D1-0A4642F5682D}"/>
              </a:ext>
            </a:extLst>
          </p:cNvPr>
          <p:cNvSpPr>
            <a:spLocks noGrp="1"/>
          </p:cNvSpPr>
          <p:nvPr>
            <p:ph type="pic" sz="quarter" idx="12"/>
          </p:nvPr>
        </p:nvSpPr>
        <p:spPr>
          <a:xfrm>
            <a:off x="6713538" y="0"/>
            <a:ext cx="5478462" cy="6858000"/>
          </a:xfrm>
        </p:spPr>
        <p:txBody>
          <a:bodyPr/>
          <a:lstStyle/>
          <a:p>
            <a:r>
              <a:rPr lang="en-US"/>
              <a:t>Click icon to add picture</a:t>
            </a:r>
            <a:endParaRPr lang="sv-SE" dirty="0"/>
          </a:p>
        </p:txBody>
      </p:sp>
      <p:sp>
        <p:nvSpPr>
          <p:cNvPr id="7" name="Content Placeholder 2">
            <a:extLst>
              <a:ext uri="{FF2B5EF4-FFF2-40B4-BE49-F238E27FC236}">
                <a16:creationId xmlns:a16="http://schemas.microsoft.com/office/drawing/2014/main" id="{BEB6B756-CE8F-4999-8713-4597E5592762}"/>
              </a:ext>
            </a:extLst>
          </p:cNvPr>
          <p:cNvSpPr>
            <a:spLocks noGrp="1"/>
          </p:cNvSpPr>
          <p:nvPr>
            <p:ph idx="1"/>
          </p:nvPr>
        </p:nvSpPr>
        <p:spPr>
          <a:xfrm>
            <a:off x="838200" y="1825625"/>
            <a:ext cx="5664200" cy="4351338"/>
          </a:xfrm>
        </p:spPr>
        <p:txBody>
          <a:bodyPr/>
          <a:lstStyle>
            <a:lvl1pPr marL="228600" indent="-228600">
              <a:buClr>
                <a:srgbClr val="762676"/>
              </a:buClr>
              <a:buFont typeface="Wingdings" panose="05000000000000000000" pitchFamily="2" charset="2"/>
              <a:buChar char="§"/>
              <a:defRPr/>
            </a:lvl1pPr>
            <a:lvl2pPr marL="685800" indent="-228600">
              <a:buClr>
                <a:srgbClr val="762676"/>
              </a:buClr>
              <a:buFont typeface="Wingdings" panose="05000000000000000000" pitchFamily="2" charset="2"/>
              <a:buChar char="§"/>
              <a:defRPr/>
            </a:lvl2pPr>
            <a:lvl3pPr marL="1143000" indent="-228600">
              <a:buClr>
                <a:srgbClr val="762676"/>
              </a:buClr>
              <a:buFont typeface="Wingdings" panose="05000000000000000000" pitchFamily="2" charset="2"/>
              <a:buChar char="§"/>
              <a:defRPr/>
            </a:lvl3pPr>
            <a:lvl4pPr marL="1600200" indent="-228600">
              <a:buClr>
                <a:srgbClr val="762676"/>
              </a:buClr>
              <a:buFont typeface="Wingdings" panose="05000000000000000000" pitchFamily="2" charset="2"/>
              <a:buChar char="§"/>
              <a:defRPr/>
            </a:lvl4pPr>
            <a:lvl5pPr marL="2057400" indent="-228600">
              <a:buClr>
                <a:srgbClr val="762676"/>
              </a:buClr>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Rak koppling 7">
            <a:extLst>
              <a:ext uri="{FF2B5EF4-FFF2-40B4-BE49-F238E27FC236}">
                <a16:creationId xmlns:a16="http://schemas.microsoft.com/office/drawing/2014/main" id="{B07792C2-2657-4579-803C-7255634B531A}"/>
              </a:ext>
            </a:extLst>
          </p:cNvPr>
          <p:cNvCxnSpPr>
            <a:cxnSpLocks/>
          </p:cNvCxnSpPr>
          <p:nvPr userDrawn="1"/>
        </p:nvCxnSpPr>
        <p:spPr>
          <a:xfrm>
            <a:off x="6629400" y="0"/>
            <a:ext cx="0" cy="6858000"/>
          </a:xfrm>
          <a:prstGeom prst="line">
            <a:avLst/>
          </a:prstGeom>
        </p:spPr>
        <p:style>
          <a:lnRef idx="1">
            <a:schemeClr val="accent1"/>
          </a:lnRef>
          <a:fillRef idx="0">
            <a:schemeClr val="accent1"/>
          </a:fillRef>
          <a:effectRef idx="0">
            <a:schemeClr val="accent1"/>
          </a:effectRef>
          <a:fontRef idx="minor">
            <a:schemeClr val="tx1"/>
          </a:fontRef>
        </p:style>
      </p:cxnSp>
      <p:pic>
        <p:nvPicPr>
          <p:cNvPr id="6146" name="Picture 2" descr="Bildresultat fÃ¶r stockholm night">
            <a:extLst>
              <a:ext uri="{FF2B5EF4-FFF2-40B4-BE49-F238E27FC236}">
                <a16:creationId xmlns:a16="http://schemas.microsoft.com/office/drawing/2014/main" id="{602CE3EE-4A0F-4B75-826F-E67B9A73F00A}"/>
              </a:ext>
            </a:extLst>
          </p:cNvPr>
          <p:cNvPicPr>
            <a:picLocks noChangeAspect="1" noChangeArrowheads="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26937" r="28405"/>
          <a:stretch/>
        </p:blipFill>
        <p:spPr bwMode="auto">
          <a:xfrm>
            <a:off x="6713538" y="1"/>
            <a:ext cx="5478462" cy="6857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0256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A233-49F4-4BCE-A165-AC5B91EA3B51}"/>
              </a:ext>
            </a:extLst>
          </p:cNvPr>
          <p:cNvSpPr>
            <a:spLocks noGrp="1"/>
          </p:cNvSpPr>
          <p:nvPr>
            <p:ph type="title"/>
          </p:nvPr>
        </p:nvSpPr>
        <p:spPr>
          <a:xfrm>
            <a:off x="495299" y="188150"/>
            <a:ext cx="9629469" cy="932730"/>
          </a:xfrm>
        </p:spPr>
        <p:txBody>
          <a:bodyPr anchor="ctr">
            <a:normAutofit/>
          </a:bodyPr>
          <a:lstStyle>
            <a:lvl1pPr>
              <a:defRPr sz="28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2B6493-BDAB-4956-AF82-978E0BA121FF}"/>
              </a:ext>
            </a:extLst>
          </p:cNvPr>
          <p:cNvSpPr>
            <a:spLocks noGrp="1"/>
          </p:cNvSpPr>
          <p:nvPr>
            <p:ph idx="1"/>
          </p:nvPr>
        </p:nvSpPr>
        <p:spPr>
          <a:xfrm>
            <a:off x="495299" y="1216742"/>
            <a:ext cx="11172825" cy="52135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93CDE-4182-4542-AABC-DD467D324103}"/>
              </a:ext>
            </a:extLst>
          </p:cNvPr>
          <p:cNvSpPr>
            <a:spLocks noGrp="1"/>
          </p:cNvSpPr>
          <p:nvPr>
            <p:ph type="dt" sz="half" idx="10"/>
          </p:nvPr>
        </p:nvSpPr>
        <p:spPr/>
        <p:txBody>
          <a:bodyPr/>
          <a:lstStyle/>
          <a:p>
            <a:fld id="{15037BA5-8E01-4CB5-8EE0-46C5A280E605}" type="datetime1">
              <a:rPr lang="en-GB" smtClean="0"/>
              <a:t>08/12/2020</a:t>
            </a:fld>
            <a:endParaRPr lang="en-GB"/>
          </a:p>
        </p:txBody>
      </p:sp>
      <p:sp>
        <p:nvSpPr>
          <p:cNvPr id="5" name="Footer Placeholder 4">
            <a:extLst>
              <a:ext uri="{FF2B5EF4-FFF2-40B4-BE49-F238E27FC236}">
                <a16:creationId xmlns:a16="http://schemas.microsoft.com/office/drawing/2014/main" id="{8841EB7A-1342-43EF-9040-821164D00AEA}"/>
              </a:ext>
            </a:extLst>
          </p:cNvPr>
          <p:cNvSpPr>
            <a:spLocks noGrp="1"/>
          </p:cNvSpPr>
          <p:nvPr>
            <p:ph type="ftr" sz="quarter" idx="11"/>
          </p:nvPr>
        </p:nvSpPr>
        <p:spPr/>
        <p:txBody>
          <a:bodyPr/>
          <a:lstStyle/>
          <a:p>
            <a:r>
              <a:rPr lang="en-US"/>
              <a:t>FOR MICROSOFT INTERNAL &amp; MANAGED PARTNERS ONLY</a:t>
            </a:r>
            <a:endParaRPr lang="en-GB"/>
          </a:p>
        </p:txBody>
      </p:sp>
      <p:sp>
        <p:nvSpPr>
          <p:cNvPr id="6" name="Slide Number Placeholder 5">
            <a:extLst>
              <a:ext uri="{FF2B5EF4-FFF2-40B4-BE49-F238E27FC236}">
                <a16:creationId xmlns:a16="http://schemas.microsoft.com/office/drawing/2014/main" id="{D043E638-C45D-49F5-9926-E72EDCE7AFD7}"/>
              </a:ext>
            </a:extLst>
          </p:cNvPr>
          <p:cNvSpPr>
            <a:spLocks noGrp="1"/>
          </p:cNvSpPr>
          <p:nvPr>
            <p:ph type="sldNum" sz="quarter" idx="12"/>
          </p:nvPr>
        </p:nvSpPr>
        <p:spPr/>
        <p:txBody>
          <a:bodyPr/>
          <a:lstStyle/>
          <a:p>
            <a:fld id="{BD9BE37A-1E7F-4D0B-9D7E-C3C1D28A8A72}" type="slidenum">
              <a:rPr lang="en-GB" smtClean="0"/>
              <a:t>‹#›</a:t>
            </a:fld>
            <a:endParaRPr lang="en-GB"/>
          </a:p>
        </p:txBody>
      </p:sp>
      <p:pic>
        <p:nvPicPr>
          <p:cNvPr id="7" name="Picture 6">
            <a:extLst>
              <a:ext uri="{FF2B5EF4-FFF2-40B4-BE49-F238E27FC236}">
                <a16:creationId xmlns:a16="http://schemas.microsoft.com/office/drawing/2014/main" id="{8904BB0D-0E32-4AB3-A5F3-59C6D902722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192670" y="427703"/>
            <a:ext cx="1665340" cy="381989"/>
          </a:xfrm>
          <a:prstGeom prst="rect">
            <a:avLst/>
          </a:prstGeom>
        </p:spPr>
      </p:pic>
    </p:spTree>
    <p:extLst>
      <p:ext uri="{BB962C8B-B14F-4D97-AF65-F5344CB8AC3E}">
        <p14:creationId xmlns:p14="http://schemas.microsoft.com/office/powerpoint/2010/main" val="26920745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57687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3695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Rectangle 7"/>
          <p:cNvSpPr/>
          <p:nvPr userDrawn="1"/>
        </p:nvSpPr>
        <p:spPr>
          <a:xfrm>
            <a:off x="10973568" y="6355522"/>
            <a:ext cx="380232" cy="261610"/>
          </a:xfrm>
          <a:prstGeom prst="rect">
            <a:avLst/>
          </a:prstGeom>
        </p:spPr>
        <p:txBody>
          <a:bodyPr wrap="none">
            <a:spAutoFit/>
          </a:bodyPr>
          <a:lstStyle/>
          <a:p>
            <a:pPr algn="r"/>
            <a:fld id="{44B5E3D8-B559-49FC-84E7-900B409E63B2}" type="slidenum">
              <a:rPr lang="id-ID" sz="1050" b="0" smtClean="0">
                <a:solidFill>
                  <a:schemeClr val="bg1"/>
                </a:solidFill>
                <a:latin typeface="Raleway" panose="020B0003030101060003" pitchFamily="34" charset="0"/>
              </a:rPr>
              <a:pPr algn="r"/>
              <a:t>‹#›</a:t>
            </a:fld>
            <a:endParaRPr lang="en-US" sz="1050" b="0" dirty="0">
              <a:solidFill>
                <a:schemeClr val="bg1"/>
              </a:solidFill>
              <a:latin typeface="Raleway" panose="020B0003030101060003" pitchFamily="34" charset="0"/>
            </a:endParaRPr>
          </a:p>
        </p:txBody>
      </p:sp>
      <p:sp>
        <p:nvSpPr>
          <p:cNvPr id="9"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50">
                <a:solidFill>
                  <a:schemeClr val="bg1"/>
                </a:solidFill>
                <a:latin typeface="Raleway" panose="020B0003030101060003" pitchFamily="34" charset="0"/>
              </a:defRPr>
            </a:lvl1pPr>
          </a:lstStyle>
          <a:p>
            <a:fld id="{1A2A1837-D9DE-4E52-9C12-3B17DFE87881}" type="datetime1">
              <a:rPr lang="en-US" smtClean="0"/>
              <a:pPr/>
              <a:t>12/8/2020</a:t>
            </a:fld>
            <a:endParaRPr lang="en-US"/>
          </a:p>
        </p:txBody>
      </p:sp>
    </p:spTree>
    <p:extLst>
      <p:ext uri="{BB962C8B-B14F-4D97-AF65-F5344CB8AC3E}">
        <p14:creationId xmlns:p14="http://schemas.microsoft.com/office/powerpoint/2010/main" val="15232204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and Content Bulle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6"/>
            <a:ext cx="10972800" cy="4525963"/>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ubrik 1"/>
          <p:cNvSpPr>
            <a:spLocks noGrp="1"/>
          </p:cNvSpPr>
          <p:nvPr>
            <p:ph type="title"/>
          </p:nvPr>
        </p:nvSpPr>
        <p:spPr>
          <a:xfrm>
            <a:off x="609600" y="365126"/>
            <a:ext cx="10972800" cy="891181"/>
          </a:xfrm>
          <a:prstGeom prst="rect">
            <a:avLst/>
          </a:prstGeom>
        </p:spPr>
        <p:txBody>
          <a:bodyPr anchor="b"/>
          <a:lstStyle>
            <a:lvl1pPr algn="l">
              <a:defRPr sz="2800">
                <a:latin typeface="Segoe UI Light" panose="020B0502040204020203" pitchFamily="34" charset="0"/>
                <a:cs typeface="Segoe UI Light" panose="020B0502040204020203" pitchFamily="34" charset="0"/>
              </a:defRPr>
            </a:lvl1pPr>
          </a:lstStyle>
          <a:p>
            <a:r>
              <a:rPr lang="sv-SE" dirty="0"/>
              <a:t>Klicka här för att ändra format</a:t>
            </a:r>
            <a:endParaRPr lang="en-GB" dirty="0"/>
          </a:p>
        </p:txBody>
      </p:sp>
    </p:spTree>
    <p:extLst>
      <p:ext uri="{BB962C8B-B14F-4D97-AF65-F5344CB8AC3E}">
        <p14:creationId xmlns:p14="http://schemas.microsoft.com/office/powerpoint/2010/main" val="16556905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4581503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EC030-9408-4C07-8060-1D8EC28A48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44603A-34DE-40BA-B864-555AC2FADF0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F14758-6724-4CD6-93AD-E1485D442BBB}"/>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5" name="Footer Placeholder 4">
            <a:extLst>
              <a:ext uri="{FF2B5EF4-FFF2-40B4-BE49-F238E27FC236}">
                <a16:creationId xmlns:a16="http://schemas.microsoft.com/office/drawing/2014/main" id="{CED5F185-74DD-44DB-AE7E-5BC0B271D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B3D6A3-FEF8-4574-8AD0-8C626BE30D9A}"/>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14261140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0D689-01D9-44ED-B208-F4BCA6EBD7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6BF5E21-3D60-4018-BB19-A53871F3CA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13B2313-DDF1-4B5F-82EB-766AB401EA43}"/>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5" name="Footer Placeholder 4">
            <a:extLst>
              <a:ext uri="{FF2B5EF4-FFF2-40B4-BE49-F238E27FC236}">
                <a16:creationId xmlns:a16="http://schemas.microsoft.com/office/drawing/2014/main" id="{FC30AFB1-88BE-49E9-9F31-7D306AB93A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BCB637-8AFD-4DB0-B19C-751009C46569}"/>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557418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FF9FF-1F9B-4C64-8043-6F820062BC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F288C1-5737-426C-8052-23C8F176BCB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D9DCFE-F865-4F25-83BC-91045C5EF49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BB35595-0D43-4CD5-8620-7FC1931FA0E3}"/>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6" name="Footer Placeholder 5">
            <a:extLst>
              <a:ext uri="{FF2B5EF4-FFF2-40B4-BE49-F238E27FC236}">
                <a16:creationId xmlns:a16="http://schemas.microsoft.com/office/drawing/2014/main" id="{AF196461-12FB-4792-83C7-B025954A9A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2AB9F0-D311-4E8C-8B57-F88FAEABECAD}"/>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7428621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E99B9-7C02-498A-BA48-EBAD9131062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91C0F12-039A-4520-818C-0F076661FA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FCA6BD1-A6A4-4CB5-ABDB-772D92DFB58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C62175-BA0A-419D-8E9C-B31A6B5777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688E919-F90C-4E0D-8AEF-41C7256D725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F6084A-E688-4776-B77A-72050FD205B6}"/>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8" name="Footer Placeholder 7">
            <a:extLst>
              <a:ext uri="{FF2B5EF4-FFF2-40B4-BE49-F238E27FC236}">
                <a16:creationId xmlns:a16="http://schemas.microsoft.com/office/drawing/2014/main" id="{B802C54F-13EB-4B41-A6E2-2789E57C3FF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C4331C4-5410-4466-94BA-1D0C0E5840BB}"/>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7806620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2C84F-0123-4B5D-9CE4-A5DC90F072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6FD1DC8-0F72-43C4-965D-788514EF11BE}"/>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4" name="Footer Placeholder 3">
            <a:extLst>
              <a:ext uri="{FF2B5EF4-FFF2-40B4-BE49-F238E27FC236}">
                <a16:creationId xmlns:a16="http://schemas.microsoft.com/office/drawing/2014/main" id="{81D573BA-0788-439E-B3A1-9287B14E15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B444D0-9577-40C3-9362-47EA95DCE227}"/>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30826613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817EB9-A960-4191-874C-E34C6E61E5EA}"/>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3" name="Footer Placeholder 2">
            <a:extLst>
              <a:ext uri="{FF2B5EF4-FFF2-40B4-BE49-F238E27FC236}">
                <a16:creationId xmlns:a16="http://schemas.microsoft.com/office/drawing/2014/main" id="{8A5FFF78-40DA-40E8-AB2F-31A748CF9C5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0E3C1D-5442-4029-B174-CE54A761DD97}"/>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152941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D0D0D"/>
        </a:solidFill>
        <a:effectLst/>
      </p:bgPr>
    </p:bg>
    <p:spTree>
      <p:nvGrpSpPr>
        <p:cNvPr id="1" name=""/>
        <p:cNvGrpSpPr/>
        <p:nvPr/>
      </p:nvGrpSpPr>
      <p:grpSpPr>
        <a:xfrm>
          <a:off x="0" y="0"/>
          <a:ext cx="0" cy="0"/>
          <a:chOff x="0" y="0"/>
          <a:chExt cx="0" cy="0"/>
        </a:xfrm>
      </p:grpSpPr>
      <p:pic>
        <p:nvPicPr>
          <p:cNvPr id="3" name="Picture 2" descr="A person posing for a picture&#10;&#10;Description generated with very high confidence">
            <a:extLst>
              <a:ext uri="{FF2B5EF4-FFF2-40B4-BE49-F238E27FC236}">
                <a16:creationId xmlns:a16="http://schemas.microsoft.com/office/drawing/2014/main" id="{03768DBB-20A0-4DA0-9F88-BCFA4AACF0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781800" y="0"/>
            <a:ext cx="5410200" cy="68580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02858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FCD8D-C552-45B7-99EC-3A4D4C89F3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AE325FD-27ED-49CE-AF14-B3208B77C5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7BE1CBF-A39F-45C6-BC0F-3A6F3CC078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6C377D6-62BB-40B1-9689-41B7D71603C6}"/>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6" name="Footer Placeholder 5">
            <a:extLst>
              <a:ext uri="{FF2B5EF4-FFF2-40B4-BE49-F238E27FC236}">
                <a16:creationId xmlns:a16="http://schemas.microsoft.com/office/drawing/2014/main" id="{52ED17B2-6277-4D74-9972-A3FB1AF419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5182DD-741E-4B49-9FA2-93BCED479397}"/>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10611059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596EF-A35D-44D3-94C9-788549689D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10B0075-E10C-439C-927E-B045203F3A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95936B-4487-4538-92A6-4A061C7D0D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C85A8F5-0E73-4AA7-9D6F-1B2419C0BDAE}"/>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6" name="Footer Placeholder 5">
            <a:extLst>
              <a:ext uri="{FF2B5EF4-FFF2-40B4-BE49-F238E27FC236}">
                <a16:creationId xmlns:a16="http://schemas.microsoft.com/office/drawing/2014/main" id="{62E4AF7A-EF27-40CA-8A98-DE3E702660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E9E9CD-3087-4525-AC7E-863E483CBF24}"/>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2765187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4C34E-A055-4346-A73D-B51C9559E5A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B163969-377F-47A9-9582-65EC37597C6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79EFFB-DA3C-4944-BDA3-1BDD613137F5}"/>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5" name="Footer Placeholder 4">
            <a:extLst>
              <a:ext uri="{FF2B5EF4-FFF2-40B4-BE49-F238E27FC236}">
                <a16:creationId xmlns:a16="http://schemas.microsoft.com/office/drawing/2014/main" id="{106A3F4C-C6BE-470D-81D9-11E61F5DCD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CE11F6-79C0-4F62-AC4E-D043919E394F}"/>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40983009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BF8984-91AB-45A9-8AFC-0E2F23F5E88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4B767E7-540D-4C90-98C1-772723B1296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642982-9C25-4443-AB22-0000481E3F91}"/>
              </a:ext>
            </a:extLst>
          </p:cNvPr>
          <p:cNvSpPr>
            <a:spLocks noGrp="1"/>
          </p:cNvSpPr>
          <p:nvPr>
            <p:ph type="dt" sz="half" idx="10"/>
          </p:nvPr>
        </p:nvSpPr>
        <p:spPr/>
        <p:txBody>
          <a:bodyPr/>
          <a:lstStyle/>
          <a:p>
            <a:fld id="{363457D8-CAF4-40D3-B2C8-3179E649C609}" type="datetimeFigureOut">
              <a:rPr lang="en-US" smtClean="0"/>
              <a:t>12/8/2020</a:t>
            </a:fld>
            <a:endParaRPr lang="en-US"/>
          </a:p>
        </p:txBody>
      </p:sp>
      <p:sp>
        <p:nvSpPr>
          <p:cNvPr id="5" name="Footer Placeholder 4">
            <a:extLst>
              <a:ext uri="{FF2B5EF4-FFF2-40B4-BE49-F238E27FC236}">
                <a16:creationId xmlns:a16="http://schemas.microsoft.com/office/drawing/2014/main" id="{375AEDB6-679C-4116-AFB6-24477A683F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D48D39-9F88-449E-8694-512B5C5A9043}"/>
              </a:ext>
            </a:extLst>
          </p:cNvPr>
          <p:cNvSpPr>
            <a:spLocks noGrp="1"/>
          </p:cNvSpPr>
          <p:nvPr>
            <p:ph type="sldNum" sz="quarter" idx="12"/>
          </p:nvPr>
        </p:nvSpPr>
        <p:spPr/>
        <p:txBody>
          <a:bodyPr/>
          <a:lstStyle/>
          <a:p>
            <a:fld id="{00DDF6A7-E2B8-4DDF-85CB-2BB7F5732B16}" type="slidenum">
              <a:rPr lang="en-US" smtClean="0"/>
              <a:t>‹#›</a:t>
            </a:fld>
            <a:endParaRPr lang="en-US"/>
          </a:p>
        </p:txBody>
      </p:sp>
    </p:spTree>
    <p:extLst>
      <p:ext uri="{BB962C8B-B14F-4D97-AF65-F5344CB8AC3E}">
        <p14:creationId xmlns:p14="http://schemas.microsoft.com/office/powerpoint/2010/main" val="6160041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Slide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gradFill>
                  <a:gsLst>
                    <a:gs pos="0">
                      <a:schemeClr val="tx1"/>
                    </a:gs>
                    <a:gs pos="100000">
                      <a:schemeClr val="tx1"/>
                    </a:gs>
                  </a:gsLst>
                  <a:lin ang="5400000" scaled="1"/>
                </a:gra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gradFill>
                  <a:gsLst>
                    <a:gs pos="0">
                      <a:schemeClr val="tx1"/>
                    </a:gs>
                    <a:gs pos="100000">
                      <a:schemeClr val="tx1"/>
                    </a:gs>
                  </a:gsLst>
                  <a:lin ang="5400000" scaled="1"/>
                </a:gra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5" y="620429"/>
            <a:ext cx="11306469" cy="749772"/>
          </a:xfrm>
        </p:spPr>
        <p:txBody>
          <a:bodyPr tIns="0"/>
          <a:lstStyle>
            <a:lvl1pPr>
              <a:lnSpc>
                <a:spcPts val="3136"/>
              </a:lnSpc>
              <a:defRPr>
                <a:gradFill>
                  <a:gsLst>
                    <a:gs pos="0">
                      <a:schemeClr val="tx1"/>
                    </a:gs>
                    <a:gs pos="100000">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00273328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2272758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23519296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1812353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23019405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778314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BW Image">
    <p:bg>
      <p:bgPr>
        <a:solidFill>
          <a:srgbClr val="0D0D0D"/>
        </a:solidFill>
        <a:effectLst/>
      </p:bgPr>
    </p:bg>
    <p:spTree>
      <p:nvGrpSpPr>
        <p:cNvPr id="1" name=""/>
        <p:cNvGrpSpPr/>
        <p:nvPr/>
      </p:nvGrpSpPr>
      <p:grpSpPr>
        <a:xfrm>
          <a:off x="0" y="0"/>
          <a:ext cx="0" cy="0"/>
          <a:chOff x="0" y="0"/>
          <a:chExt cx="0" cy="0"/>
        </a:xfrm>
      </p:grpSpPr>
      <p:pic>
        <p:nvPicPr>
          <p:cNvPr id="3" name="Picture 2" descr="A picture containing outdoor, ground, athletic game, young&#10;&#10;Description generated with very high confidence">
            <a:extLst>
              <a:ext uri="{FF2B5EF4-FFF2-40B4-BE49-F238E27FC236}">
                <a16:creationId xmlns:a16="http://schemas.microsoft.com/office/drawing/2014/main" id="{BACB6147-4A95-4C4A-9617-B1878015378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853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742729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5776930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42215071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394561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22520777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420121F-7F38-4211-BC4E-16B586DF7DA3}" type="datetimeFigureOut">
              <a:rPr lang="en-GB" smtClean="0"/>
              <a:t>08/1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991F4C0-EE14-445F-BA37-3A39A55DFADC}" type="slidenum">
              <a:rPr lang="en-GB" smtClean="0"/>
              <a:t>‹#›</a:t>
            </a:fld>
            <a:endParaRPr lang="en-GB" dirty="0"/>
          </a:p>
        </p:txBody>
      </p:sp>
    </p:spTree>
    <p:extLst>
      <p:ext uri="{BB962C8B-B14F-4D97-AF65-F5344CB8AC3E}">
        <p14:creationId xmlns:p14="http://schemas.microsoft.com/office/powerpoint/2010/main" val="17657100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1180688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z="4312"/>
            </a:lvl1pPr>
          </a:lstStyle>
          <a:p>
            <a:r>
              <a:rPr lang="en-US"/>
              <a:t>Click to edit Master title style</a:t>
            </a:r>
          </a:p>
        </p:txBody>
      </p:sp>
    </p:spTree>
    <p:extLst>
      <p:ext uri="{BB962C8B-B14F-4D97-AF65-F5344CB8AC3E}">
        <p14:creationId xmlns:p14="http://schemas.microsoft.com/office/powerpoint/2010/main" val="354325390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09190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4124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C Image">
    <p:bg>
      <p:bgRef idx="1001">
        <a:schemeClr val="bg1"/>
      </p:bgRef>
    </p:bg>
    <p:spTree>
      <p:nvGrpSpPr>
        <p:cNvPr id="1" name=""/>
        <p:cNvGrpSpPr/>
        <p:nvPr/>
      </p:nvGrpSpPr>
      <p:grpSpPr>
        <a:xfrm>
          <a:off x="0" y="0"/>
          <a:ext cx="0" cy="0"/>
          <a:chOff x="0" y="0"/>
          <a:chExt cx="0" cy="0"/>
        </a:xfrm>
      </p:grpSpPr>
      <p:pic>
        <p:nvPicPr>
          <p:cNvPr id="3" name="Picture 2" descr="A person looking at the camera&#10;&#10;Description generated with high confidence">
            <a:extLst>
              <a:ext uri="{FF2B5EF4-FFF2-40B4-BE49-F238E27FC236}">
                <a16:creationId xmlns:a16="http://schemas.microsoft.com/office/drawing/2014/main" id="{BE75541F-AE41-4028-AFF7-E5A4D6D830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209866" cy="6858000"/>
          </a:xfrm>
          <a:prstGeom prst="rect">
            <a:avLst/>
          </a:prstGeom>
        </p:spPr>
      </p:pic>
      <p:sp>
        <p:nvSpPr>
          <p:cNvPr id="4" name="Rectangle 3">
            <a:extLst>
              <a:ext uri="{FF2B5EF4-FFF2-40B4-BE49-F238E27FC236}">
                <a16:creationId xmlns:a16="http://schemas.microsoft.com/office/drawing/2014/main" id="{79BB7000-E6C7-4546-9575-8FABE31C0FF6}"/>
              </a:ext>
            </a:extLst>
          </p:cNvPr>
          <p:cNvSpPr/>
          <p:nvPr userDrawn="1"/>
        </p:nvSpPr>
        <p:spPr bwMode="auto">
          <a:xfrm>
            <a:off x="1" y="0"/>
            <a:ext cx="7772400" cy="6858000"/>
          </a:xfrm>
          <a:prstGeom prst="rect">
            <a:avLst/>
          </a:prstGeom>
          <a:gradFill>
            <a:gsLst>
              <a:gs pos="22000">
                <a:schemeClr val="bg1">
                  <a:alpha val="65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2">
            <a:extLst>
              <a:ext uri="{FF2B5EF4-FFF2-40B4-BE49-F238E27FC236}">
                <a16:creationId xmlns:a16="http://schemas.microsoft.com/office/drawing/2014/main" id="{9E2ABA0C-A17F-454F-BCD7-75D3EEA7AAE2}"/>
              </a:ext>
            </a:extLst>
          </p:cNvPr>
          <p:cNvSpPr>
            <a:spLocks noGrp="1"/>
          </p:cNvSpPr>
          <p:nvPr>
            <p:ph type="body" sz="quarter" idx="13" hasCustomPrompt="1"/>
          </p:nvPr>
        </p:nvSpPr>
        <p:spPr>
          <a:xfrm>
            <a:off x="584200" y="6467329"/>
            <a:ext cx="3867150" cy="123111"/>
          </a:xfrm>
        </p:spPr>
        <p:txBody>
          <a:bodyPr/>
          <a:lstStyle>
            <a:lvl1pPr marL="0" indent="0">
              <a:buFontTx/>
              <a:buNone/>
              <a:defRPr sz="800">
                <a:latin typeface="+mn-lt"/>
              </a:defRPr>
            </a:lvl1pPr>
          </a:lstStyle>
          <a:p>
            <a:pPr lvl="0"/>
            <a:r>
              <a:rPr lang="en-US"/>
              <a:t>Microsoft Confidential</a:t>
            </a:r>
          </a:p>
        </p:txBody>
      </p:sp>
    </p:spTree>
    <p:extLst>
      <p:ext uri="{BB962C8B-B14F-4D97-AF65-F5344CB8AC3E}">
        <p14:creationId xmlns:p14="http://schemas.microsoft.com/office/powerpoint/2010/main" val="124351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spTree>
    <p:extLst>
      <p:ext uri="{BB962C8B-B14F-4D97-AF65-F5344CB8AC3E}">
        <p14:creationId xmlns:p14="http://schemas.microsoft.com/office/powerpoint/2010/main" val="193636345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Smith - 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52"/>
            <a:ext cx="4795873" cy="1267431"/>
          </a:xfrm>
        </p:spPr>
        <p:txBody>
          <a:bodyPr wrap="square" anchor="t">
            <a:spAutoFit/>
          </a:bodyPr>
          <a:lstStyle>
            <a:lvl1pPr>
              <a:lnSpc>
                <a:spcPct val="100000"/>
              </a:lnSpc>
              <a:defRPr sz="3525" spc="-49" baseline="0">
                <a:gradFill>
                  <a:gsLst>
                    <a:gs pos="1250">
                      <a:schemeClr val="tx1"/>
                    </a:gs>
                    <a:gs pos="100000">
                      <a:schemeClr val="tx1"/>
                    </a:gs>
                  </a:gsLst>
                  <a:lin ang="5400000" scaled="0"/>
                </a:gradFill>
              </a:defRPr>
            </a:lvl1pPr>
          </a:lstStyle>
          <a:p>
            <a:r>
              <a:rPr lang="en-US"/>
              <a:t>Brad Smith square photo layout</a:t>
            </a:r>
          </a:p>
        </p:txBody>
      </p:sp>
    </p:spTree>
    <p:extLst>
      <p:ext uri="{BB962C8B-B14F-4D97-AF65-F5344CB8AC3E}">
        <p14:creationId xmlns:p14="http://schemas.microsoft.com/office/powerpoint/2010/main" val="1142615589"/>
      </p:ext>
    </p:extLst>
  </p:cSld>
  <p:clrMapOvr>
    <a:masterClrMapping/>
  </p:clrMapOvr>
  <p:transition>
    <p:fade/>
  </p:transition>
  <p:extLst>
    <p:ext uri="{DCECCB84-F9BA-43D5-87BE-67443E8EF086}">
      <p15:sldGuideLst xmlns:p15="http://schemas.microsoft.com/office/powerpoint/2012/main">
        <p15:guide id="1" pos="349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79235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39709888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cSld name="Content_3">
    <p:spTree>
      <p:nvGrpSpPr>
        <p:cNvPr id="1" name=""/>
        <p:cNvGrpSpPr/>
        <p:nvPr/>
      </p:nvGrpSpPr>
      <p:grpSpPr>
        <a:xfrm>
          <a:off x="0" y="0"/>
          <a:ext cx="0" cy="0"/>
          <a:chOff x="0" y="0"/>
          <a:chExt cx="0" cy="0"/>
        </a:xfrm>
      </p:grpSpPr>
      <p:sp>
        <p:nvSpPr>
          <p:cNvPr id="6" name="Picture Placeholder 13"/>
          <p:cNvSpPr>
            <a:spLocks noGrp="1"/>
          </p:cNvSpPr>
          <p:nvPr>
            <p:ph type="pic" sz="quarter" idx="10"/>
          </p:nvPr>
        </p:nvSpPr>
        <p:spPr>
          <a:xfrm>
            <a:off x="7849182" y="-14513"/>
            <a:ext cx="4342816" cy="6872515"/>
          </a:xfrm>
        </p:spPr>
        <p:txBody>
          <a:bodyPr>
            <a:noAutofit/>
          </a:bodyPr>
          <a:lstStyle/>
          <a:p>
            <a:r>
              <a:rPr lang="en-US"/>
              <a:t>Click icon to add picture</a:t>
            </a:r>
          </a:p>
        </p:txBody>
      </p:sp>
      <p:sp>
        <p:nvSpPr>
          <p:cNvPr id="10" name="Text Placeholder 9"/>
          <p:cNvSpPr>
            <a:spLocks noGrp="1"/>
          </p:cNvSpPr>
          <p:nvPr>
            <p:ph type="body" sz="quarter" idx="11" hasCustomPrompt="1"/>
          </p:nvPr>
        </p:nvSpPr>
        <p:spPr>
          <a:xfrm>
            <a:off x="412113" y="2142539"/>
            <a:ext cx="6499080" cy="4034484"/>
          </a:xfrm>
        </p:spPr>
        <p:txBody>
          <a:bodyPr lIns="274320">
            <a:noAutofit/>
          </a:bodyPr>
          <a:lstStyle>
            <a:lvl1pPr marL="0" indent="0">
              <a:lnSpc>
                <a:spcPct val="100000"/>
              </a:lnSpc>
              <a:spcBef>
                <a:spcPts val="1961"/>
              </a:spcBef>
              <a:buFont typeface="Arial" charset="0"/>
              <a:buNone/>
              <a:defRPr b="0" i="0" baseline="0">
                <a:latin typeface="Segoe UI Semibold" charset="0"/>
                <a:ea typeface="Segoe UI Semibold" charset="0"/>
                <a:cs typeface="Segoe UI Semibold" charset="0"/>
              </a:defRPr>
            </a:lvl1pPr>
            <a:lvl2pPr marL="0" indent="0">
              <a:lnSpc>
                <a:spcPct val="100000"/>
              </a:lnSpc>
              <a:spcAft>
                <a:spcPts val="0"/>
              </a:spcAft>
              <a:buNone/>
              <a:defRPr sz="1567" baseline="0"/>
            </a:lvl2pPr>
          </a:lstStyle>
          <a:p>
            <a:pPr lvl="0"/>
            <a:r>
              <a:rPr lang="en-US"/>
              <a:t>Click to edit sub head text styles</a:t>
            </a:r>
          </a:p>
          <a:p>
            <a:pPr lvl="1"/>
            <a:r>
              <a:rPr lang="en-US"/>
              <a:t>Click to edit text styles</a:t>
            </a:r>
          </a:p>
          <a:p>
            <a:pPr lvl="0"/>
            <a:r>
              <a:rPr lang="en-US"/>
              <a:t>Click to edit sub head text styles</a:t>
            </a:r>
          </a:p>
          <a:p>
            <a:pPr lvl="1"/>
            <a:r>
              <a:rPr lang="en-US"/>
              <a:t>Click to edit text styles</a:t>
            </a:r>
          </a:p>
          <a:p>
            <a:pPr lvl="0"/>
            <a:r>
              <a:rPr lang="en-US"/>
              <a:t>Click to edit sub head text styles</a:t>
            </a:r>
          </a:p>
          <a:p>
            <a:pPr lvl="1"/>
            <a:r>
              <a:rPr lang="en-US"/>
              <a:t>Click to edit text styles</a:t>
            </a:r>
          </a:p>
          <a:p>
            <a:pPr lvl="1"/>
            <a:endParaRPr lang="en-US"/>
          </a:p>
        </p:txBody>
      </p:sp>
      <p:sp>
        <p:nvSpPr>
          <p:cNvPr id="3" name="Title 1"/>
          <p:cNvSpPr>
            <a:spLocks noGrp="1"/>
          </p:cNvSpPr>
          <p:nvPr>
            <p:ph type="title"/>
          </p:nvPr>
        </p:nvSpPr>
        <p:spPr>
          <a:xfrm>
            <a:off x="412113" y="449724"/>
            <a:ext cx="7437069" cy="932414"/>
          </a:xfrm>
        </p:spPr>
        <p:txBody>
          <a:bodyPr lIns="274320" tIns="182880" rIns="45720" bIns="45720"/>
          <a:lstStyle>
            <a:lvl1pPr marL="0" algn="l" defTabSz="895702" rtl="0" eaLnBrk="1" latinLnBrk="0" hangingPunct="1">
              <a:spcBef>
                <a:spcPct val="0"/>
              </a:spcBef>
              <a:buNone/>
              <a:defRPr lang="en-US" sz="3527" b="0" i="0" u="none" kern="1200" spc="-147" baseline="0" dirty="0">
                <a:solidFill>
                  <a:schemeClr val="accent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5358457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Title_Subtitle">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80"/>
            <a:ext cx="11655840" cy="806897"/>
          </a:xfrm>
        </p:spPr>
        <p:txBody>
          <a:bodyPr/>
          <a:lstStyle>
            <a:lvl1pPr marL="0" algn="l" defTabSz="895702" rtl="0" eaLnBrk="1" latinLnBrk="0" hangingPunct="1">
              <a:spcBef>
                <a:spcPct val="0"/>
              </a:spcBef>
              <a:buNone/>
              <a:defRPr lang="en-US" sz="3918"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3" name="Text Placeholder 5"/>
          <p:cNvSpPr>
            <a:spLocks noGrp="1"/>
          </p:cNvSpPr>
          <p:nvPr>
            <p:ph type="body" sz="quarter" idx="10" hasCustomPrompt="1"/>
          </p:nvPr>
        </p:nvSpPr>
        <p:spPr>
          <a:xfrm>
            <a:off x="269241" y="1189179"/>
            <a:ext cx="11653523" cy="1270448"/>
          </a:xfrm>
        </p:spPr>
        <p:txBody>
          <a:bodyPr>
            <a:noAutofit/>
          </a:bodyPr>
          <a:lstStyle>
            <a:lvl1pPr marL="281569" indent="-281569">
              <a:spcAft>
                <a:spcPts val="588"/>
              </a:spcAft>
              <a:buFont typeface="Arial" panose="020B0604020202020204" pitchFamily="34" charset="0"/>
              <a:buChar char="•"/>
              <a:defRPr sz="1961">
                <a:gradFill>
                  <a:gsLst>
                    <a:gs pos="1250">
                      <a:schemeClr val="tx2"/>
                    </a:gs>
                    <a:gs pos="99000">
                      <a:schemeClr val="tx2"/>
                    </a:gs>
                  </a:gsLst>
                  <a:lin ang="5400000" scaled="0"/>
                </a:gradFill>
                <a:latin typeface="+mn-lt"/>
              </a:defRPr>
            </a:lvl1pPr>
            <a:lvl2pPr marL="168008" indent="-168008">
              <a:buFont typeface="Arial" panose="020B0604020202020204" pitchFamily="34" charset="0"/>
              <a:buChar char="•"/>
              <a:defRPr sz="1174">
                <a:latin typeface="+mn-lt"/>
              </a:defRPr>
            </a:lvl2pPr>
            <a:lvl3pPr marL="392019" indent="-168008">
              <a:buFont typeface="Arial" panose="020B0604020202020204" pitchFamily="34" charset="0"/>
              <a:buChar char="•"/>
              <a:defRPr sz="1567">
                <a:latin typeface="+mn-lt"/>
              </a:defRPr>
            </a:lvl3pPr>
            <a:lvl4pPr marL="616029" indent="-168008">
              <a:buFont typeface="Arial" panose="020B0604020202020204" pitchFamily="34" charset="0"/>
              <a:buChar char="•"/>
              <a:defRPr sz="1370">
                <a:latin typeface="+mn-lt"/>
              </a:defRPr>
            </a:lvl4pPr>
            <a:lvl5pPr marL="840039" indent="-168008">
              <a:buFont typeface="Arial" panose="020B0604020202020204" pitchFamily="34" charset="0"/>
              <a:buChar char="•"/>
              <a:defRPr sz="1370">
                <a:latin typeface="+mn-lt"/>
              </a:defRPr>
            </a:lvl5pPr>
          </a:lstStyle>
          <a:p>
            <a:pPr lvl="0"/>
            <a:r>
              <a:rPr lang="en-US"/>
              <a:t>Edit Master text styles</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607340046"/>
      </p:ext>
    </p:extLst>
  </p:cSld>
  <p:clrMapOvr>
    <a:masterClrMapping/>
  </p:clrMapOvr>
  <p:transition>
    <p:fade/>
  </p:transition>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356336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86601-4C9D-440B-9FA9-C9983932E94A}"/>
              </a:ext>
            </a:extLst>
          </p:cNvPr>
          <p:cNvSpPr>
            <a:spLocks noGrp="1"/>
          </p:cNvSpPr>
          <p:nvPr>
            <p:ph type="ctrTitle"/>
          </p:nvPr>
        </p:nvSpPr>
        <p:spPr>
          <a:xfrm>
            <a:off x="1524001" y="2586659"/>
            <a:ext cx="9144000" cy="923304"/>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E3FFCDD-A762-499E-AE4E-7E5491ECF0E2}"/>
              </a:ext>
            </a:extLst>
          </p:cNvPr>
          <p:cNvSpPr>
            <a:spLocks noGrp="1"/>
          </p:cNvSpPr>
          <p:nvPr>
            <p:ph type="subTitle" idx="1"/>
          </p:nvPr>
        </p:nvSpPr>
        <p:spPr>
          <a:xfrm>
            <a:off x="1524001" y="3602040"/>
            <a:ext cx="9144000" cy="513510"/>
          </a:xfrm>
        </p:spPr>
        <p:txBody>
          <a:bodyPr/>
          <a:lstStyle>
            <a:lvl1pPr marL="0" indent="0" algn="ctr">
              <a:buNone/>
              <a:defRPr sz="2400"/>
            </a:lvl1pPr>
            <a:lvl2pPr marL="457091" indent="0" algn="ctr">
              <a:buNone/>
              <a:defRPr sz="2000"/>
            </a:lvl2pPr>
            <a:lvl3pPr marL="914183" indent="0" algn="ctr">
              <a:buNone/>
              <a:defRPr sz="1800"/>
            </a:lvl3pPr>
            <a:lvl4pPr marL="1371273" indent="0" algn="ctr">
              <a:buNone/>
              <a:defRPr sz="1600"/>
            </a:lvl4pPr>
            <a:lvl5pPr marL="1828363" indent="0" algn="ctr">
              <a:buNone/>
              <a:defRPr sz="1600"/>
            </a:lvl5pPr>
            <a:lvl6pPr marL="2285455" indent="0" algn="ctr">
              <a:buNone/>
              <a:defRPr sz="1600"/>
            </a:lvl6pPr>
            <a:lvl7pPr marL="2742546" indent="0" algn="ctr">
              <a:buNone/>
              <a:defRPr sz="1600"/>
            </a:lvl7pPr>
            <a:lvl8pPr marL="3199637" indent="0" algn="ctr">
              <a:buNone/>
              <a:defRPr sz="1600"/>
            </a:lvl8pPr>
            <a:lvl9pPr marL="365672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DD8E3B-8F27-46C6-AD7C-5F4CA94410D4}"/>
              </a:ext>
            </a:extLst>
          </p:cNvPr>
          <p:cNvSpPr>
            <a:spLocks noGrp="1"/>
          </p:cNvSpPr>
          <p:nvPr>
            <p:ph type="dt" sz="half" idx="10"/>
          </p:nvPr>
        </p:nvSpPr>
        <p:spPr>
          <a:xfrm>
            <a:off x="609601" y="6377942"/>
            <a:ext cx="2804160" cy="276999"/>
          </a:xfrm>
        </p:spPr>
        <p:txBody>
          <a:bodyPr/>
          <a:lstStyle/>
          <a:p>
            <a:fld id="{F6586E5A-D78E-4250-924E-9CF00D391AB7}" type="datetimeFigureOut">
              <a:rPr lang="en-US" smtClean="0"/>
              <a:t>12/8/2020</a:t>
            </a:fld>
            <a:endParaRPr lang="en-US"/>
          </a:p>
        </p:txBody>
      </p:sp>
      <p:sp>
        <p:nvSpPr>
          <p:cNvPr id="5" name="Footer Placeholder 4">
            <a:extLst>
              <a:ext uri="{FF2B5EF4-FFF2-40B4-BE49-F238E27FC236}">
                <a16:creationId xmlns:a16="http://schemas.microsoft.com/office/drawing/2014/main" id="{2465F658-F11B-40A2-8842-2F21B5EA8763}"/>
              </a:ext>
            </a:extLst>
          </p:cNvPr>
          <p:cNvSpPr>
            <a:spLocks noGrp="1"/>
          </p:cNvSpPr>
          <p:nvPr>
            <p:ph type="ftr" sz="quarter" idx="11"/>
          </p:nvPr>
        </p:nvSpPr>
        <p:spPr>
          <a:xfrm>
            <a:off x="4145280" y="6377942"/>
            <a:ext cx="3901440" cy="276999"/>
          </a:xfrm>
        </p:spPr>
        <p:txBody>
          <a:bodyPr/>
          <a:lstStyle/>
          <a:p>
            <a:endParaRPr lang="en-US"/>
          </a:p>
        </p:txBody>
      </p:sp>
      <p:sp>
        <p:nvSpPr>
          <p:cNvPr id="6" name="Slide Number Placeholder 5">
            <a:extLst>
              <a:ext uri="{FF2B5EF4-FFF2-40B4-BE49-F238E27FC236}">
                <a16:creationId xmlns:a16="http://schemas.microsoft.com/office/drawing/2014/main" id="{222D5633-800E-4ECB-9D2E-87B3A6ACE4DF}"/>
              </a:ext>
            </a:extLst>
          </p:cNvPr>
          <p:cNvSpPr>
            <a:spLocks noGrp="1"/>
          </p:cNvSpPr>
          <p:nvPr>
            <p:ph type="sldNum" sz="quarter" idx="12"/>
          </p:nvPr>
        </p:nvSpPr>
        <p:spPr>
          <a:xfrm>
            <a:off x="8778241" y="6377942"/>
            <a:ext cx="2804160" cy="276999"/>
          </a:xfrm>
        </p:spPr>
        <p:txBody>
          <a:bodyPr/>
          <a:lstStyle/>
          <a:p>
            <a:fld id="{8DB123EE-2F98-4189-8764-89B3BD27CA92}" type="slidenum">
              <a:rPr lang="en-US" smtClean="0"/>
              <a:t>‹#›</a:t>
            </a:fld>
            <a:endParaRPr lang="en-US"/>
          </a:p>
        </p:txBody>
      </p:sp>
    </p:spTree>
    <p:extLst>
      <p:ext uri="{BB962C8B-B14F-4D97-AF65-F5344CB8AC3E}">
        <p14:creationId xmlns:p14="http://schemas.microsoft.com/office/powerpoint/2010/main" val="4365000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205190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3067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0519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41887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62477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4246"/>
          </a:xfrm>
        </p:spPr>
        <p:txBody>
          <a:bodyPr/>
          <a:lstStyle>
            <a:lvl1pPr>
              <a:defRPr sz="1765">
                <a:gradFill>
                  <a:gsLst>
                    <a:gs pos="0">
                      <a:schemeClr val="bg1"/>
                    </a:gs>
                    <a:gs pos="100000">
                      <a:schemeClr val="bg1"/>
                    </a:gs>
                  </a:gsLst>
                  <a:lin ang="0" scaled="0"/>
                </a:gradFill>
              </a:defRPr>
            </a:lvl1pPr>
            <a:lvl2pPr>
              <a:defRPr sz="1765">
                <a:gradFill>
                  <a:gsLst>
                    <a:gs pos="0">
                      <a:schemeClr val="bg1"/>
                    </a:gs>
                    <a:gs pos="100000">
                      <a:schemeClr val="bg1"/>
                    </a:gs>
                  </a:gsLst>
                  <a:lin ang="0" scaled="0"/>
                </a:gra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90466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10856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7850A7-28FB-49E5-A8DB-1CA2C0D18B59}"/>
              </a:ext>
            </a:extLst>
          </p:cNvPr>
          <p:cNvSpPr>
            <a:spLocks noGrp="1"/>
          </p:cNvSpPr>
          <p:nvPr>
            <p:ph type="pic" sz="quarter" idx="13"/>
          </p:nvPr>
        </p:nvSpPr>
        <p:spPr>
          <a:xfrm>
            <a:off x="0" y="0"/>
            <a:ext cx="12192000" cy="6858000"/>
          </a:xfrm>
        </p:spPr>
        <p:txBody>
          <a:bodyPr/>
          <a:lstStyle/>
          <a:p>
            <a:endParaRPr lang="en-US"/>
          </a:p>
        </p:txBody>
      </p:sp>
      <p:sp>
        <p:nvSpPr>
          <p:cNvPr id="5" name="Text Placeholder 4"/>
          <p:cNvSpPr>
            <a:spLocks noGrp="1"/>
          </p:cNvSpPr>
          <p:nvPr>
            <p:ph type="body" sz="quarter" idx="12" hasCustomPrompt="1"/>
          </p:nvPr>
        </p:nvSpPr>
        <p:spPr>
          <a:xfrm>
            <a:off x="271104" y="3819156"/>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762848"/>
            <a:ext cx="9598598" cy="2072245"/>
          </a:xfrm>
          <a:noFill/>
        </p:spPr>
        <p:txBody>
          <a:bodyPr lIns="146304" tIns="91440" rIns="146304" bIns="91440" anchor="b" anchorCtr="0"/>
          <a:lstStyle>
            <a:lvl1pPr>
              <a:defRPr sz="4400" spc="-98"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48214" y="470069"/>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2"/>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Tree>
    <p:extLst>
      <p:ext uri="{BB962C8B-B14F-4D97-AF65-F5344CB8AC3E}">
        <p14:creationId xmlns:p14="http://schemas.microsoft.com/office/powerpoint/2010/main" val="4191957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36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72985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138"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0" cy="724246"/>
          </a:xfrm>
        </p:spPr>
        <p:txBody>
          <a:bodyPr/>
          <a:lstStyle>
            <a:lvl1pPr>
              <a:defRPr sz="1765"/>
            </a:lvl1pPr>
            <a:lvl2pPr>
              <a:defRPr sz="1765"/>
            </a:lvl2pPr>
            <a:lvl3pPr>
              <a:defRPr sz="1373"/>
            </a:lvl3pPr>
            <a:lvl4pPr>
              <a:defRPr sz="1373"/>
            </a:lvl4pPr>
            <a:lvl5pPr>
              <a:defRPr sz="1030"/>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291261" y="0"/>
            <a:ext cx="8900739"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247209" y="990191"/>
            <a:ext cx="8543880" cy="4877618"/>
            <a:chOff x="3256668" y="185626"/>
            <a:chExt cx="8715202"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858360" y="2383092"/>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1959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713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strike="noStrike">
                <a:gradFill>
                  <a:gsLst>
                    <a:gs pos="0">
                      <a:schemeClr val="tx1"/>
                    </a:gs>
                    <a:gs pos="100000">
                      <a:schemeClr val="tx1"/>
                    </a:gs>
                  </a:gsLst>
                  <a:lin ang="5400000" scaled="1"/>
                </a:gra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4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MAIN HEADLINE">
    <p:bg>
      <p:bgPr>
        <a:solidFill>
          <a:srgbClr val="2F2F2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67AA3-49CC-4959-AD97-E951B38838C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858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3D712044-897D-4F84-8AD8-4AF3650D98A3}"/>
              </a:ext>
            </a:extLst>
          </p:cNvPr>
          <p:cNvSpPr>
            <a:spLocks noGrp="1" noChangeAspect="1"/>
          </p:cNvSpPr>
          <p:nvPr>
            <p:ph type="pic" sz="quarter" idx="10"/>
          </p:nvPr>
        </p:nvSpPr>
        <p:spPr>
          <a:xfrm>
            <a:off x="1592263" y="1428749"/>
            <a:ext cx="1005840" cy="1005840"/>
          </a:xfrm>
          <a:prstGeom prst="ellipse">
            <a:avLst/>
          </a:prstGeom>
        </p:spPr>
        <p:txBody>
          <a:bodyPr/>
          <a:lstStyle/>
          <a:p>
            <a:endParaRPr lang="en-US"/>
          </a:p>
        </p:txBody>
      </p:sp>
    </p:spTree>
    <p:extLst>
      <p:ext uri="{BB962C8B-B14F-4D97-AF65-F5344CB8AC3E}">
        <p14:creationId xmlns:p14="http://schemas.microsoft.com/office/powerpoint/2010/main" val="17822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1DD7B49C-587B-4550-B6D2-296244D98E4B}"/>
              </a:ext>
            </a:extLst>
          </p:cNvPr>
          <p:cNvSpPr txBox="1"/>
          <p:nvPr userDrawn="1"/>
        </p:nvSpPr>
        <p:spPr bwMode="black">
          <a:xfrm>
            <a:off x="584200" y="6570657"/>
            <a:ext cx="2588850" cy="1077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150" normalizeH="0" baseline="0" noProof="0">
                <a:ln>
                  <a:noFill/>
                </a:ln>
                <a:gradFill>
                  <a:gsLst>
                    <a:gs pos="0">
                      <a:srgbClr val="3C3C41">
                        <a:alpha val="50000"/>
                      </a:srgbClr>
                    </a:gs>
                    <a:gs pos="86000">
                      <a:srgbClr val="3C3C41">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27139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5217" y="585789"/>
            <a:ext cx="1366245" cy="292608"/>
          </a:xfrm>
          <a:prstGeom prst="rect">
            <a:avLst/>
          </a:prstGeom>
        </p:spPr>
      </p:pic>
    </p:spTree>
    <p:extLst>
      <p:ext uri="{BB962C8B-B14F-4D97-AF65-F5344CB8AC3E}">
        <p14:creationId xmlns:p14="http://schemas.microsoft.com/office/powerpoint/2010/main" val="2193536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49892"/>
          <a:stretch/>
        </p:blipFill>
        <p:spPr>
          <a:xfrm>
            <a:off x="10967909" y="6238694"/>
            <a:ext cx="1135600" cy="569191"/>
          </a:xfrm>
          <a:prstGeom prst="rect">
            <a:avLst/>
          </a:prstGeom>
        </p:spPr>
      </p:pic>
      <p:sp>
        <p:nvSpPr>
          <p:cNvPr id="14" name="Text Placeholder 8">
            <a:extLst>
              <a:ext uri="{FF2B5EF4-FFF2-40B4-BE49-F238E27FC236}">
                <a16:creationId xmlns:a16="http://schemas.microsoft.com/office/drawing/2014/main" id="{E63CA5A9-0529-4082-96B2-B07DC96D08AC}"/>
              </a:ext>
            </a:extLst>
          </p:cNvPr>
          <p:cNvSpPr>
            <a:spLocks noGrp="1"/>
          </p:cNvSpPr>
          <p:nvPr>
            <p:ph type="body" sz="quarter" idx="16" hasCustomPrompt="1"/>
          </p:nvPr>
        </p:nvSpPr>
        <p:spPr>
          <a:xfrm>
            <a:off x="1133156" y="3878729"/>
            <a:ext cx="9420151" cy="447373"/>
          </a:xfrm>
        </p:spPr>
        <p:txBody>
          <a:bodyPr/>
          <a:lstStyle>
            <a:lvl1pPr marL="0" marR="0" indent="0" algn="l" defTabSz="89635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0" kern="1200" spc="-48" baseline="0" dirty="0">
                <a:solidFill>
                  <a:schemeClr val="bg1"/>
                </a:solidFill>
                <a:latin typeface="+mj-lt"/>
                <a:ea typeface="+mn-ea"/>
                <a:cs typeface="+mn-cs"/>
              </a:defRPr>
            </a:lvl1pPr>
            <a:lvl2pPr marL="0" marR="0" indent="0" algn="l" defTabSz="896354"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730" kern="1200" spc="-48" baseline="0" dirty="0">
                <a:solidFill>
                  <a:schemeClr val="bg1"/>
                </a:solidFill>
                <a:latin typeface="+mj-lt"/>
                <a:ea typeface="+mn-ea"/>
                <a:cs typeface="+mn-cs"/>
              </a:defRPr>
            </a:lvl2pPr>
          </a:lstStyle>
          <a:p>
            <a:r>
              <a:rPr lang="en-US" dirty="0"/>
              <a:t>#AST Location</a:t>
            </a:r>
          </a:p>
        </p:txBody>
      </p:sp>
      <p:sp>
        <p:nvSpPr>
          <p:cNvPr id="15" name="Title 6">
            <a:extLst>
              <a:ext uri="{FF2B5EF4-FFF2-40B4-BE49-F238E27FC236}">
                <a16:creationId xmlns:a16="http://schemas.microsoft.com/office/drawing/2014/main" id="{329C205B-2A26-4108-9DF7-D3101F0AA921}"/>
              </a:ext>
            </a:extLst>
          </p:cNvPr>
          <p:cNvSpPr>
            <a:spLocks noGrp="1"/>
          </p:cNvSpPr>
          <p:nvPr>
            <p:ph type="title" hasCustomPrompt="1"/>
          </p:nvPr>
        </p:nvSpPr>
        <p:spPr>
          <a:xfrm>
            <a:off x="399383" y="1738766"/>
            <a:ext cx="9441076" cy="1757856"/>
          </a:xfrm>
        </p:spPr>
        <p:txBody>
          <a:bodyPr/>
          <a:lstStyle>
            <a:lvl1pPr>
              <a:defRPr lang="en-US" sz="4612" b="0" strike="noStrike" kern="1200" cap="none" spc="-48" baseline="0" dirty="0">
                <a:ln w="3175">
                  <a:noFill/>
                </a:ln>
                <a:solidFill>
                  <a:schemeClr val="accent5"/>
                </a:solidFill>
                <a:effectLst/>
                <a:latin typeface="+mj-lt"/>
                <a:ea typeface="+mn-ea"/>
                <a:cs typeface="Segoe UI" pitchFamily="34" charset="0"/>
              </a:defRPr>
            </a:lvl1pPr>
          </a:lstStyle>
          <a:p>
            <a:r>
              <a:rPr lang="en-US"/>
              <a:t>Business </a:t>
            </a:r>
            <a:br>
              <a:rPr lang="en-US"/>
            </a:br>
            <a:r>
              <a:rPr lang="en-US"/>
              <a:t>Applications</a:t>
            </a:r>
            <a:br>
              <a:rPr lang="en-US"/>
            </a:br>
            <a:r>
              <a:rPr lang="en-US"/>
              <a:t>#AST FY20.</a:t>
            </a:r>
            <a:endParaRPr lang="en-US" dirty="0"/>
          </a:p>
        </p:txBody>
      </p:sp>
      <p:pic>
        <p:nvPicPr>
          <p:cNvPr id="6" name="Graphic 5">
            <a:extLst>
              <a:ext uri="{FF2B5EF4-FFF2-40B4-BE49-F238E27FC236}">
                <a16:creationId xmlns:a16="http://schemas.microsoft.com/office/drawing/2014/main" id="{BE6B64BE-DA70-461E-9482-54D865E91B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933955" y="2970782"/>
            <a:ext cx="9942636" cy="3387594"/>
          </a:xfrm>
          <a:prstGeom prst="rect">
            <a:avLst/>
          </a:prstGeom>
        </p:spPr>
      </p:pic>
    </p:spTree>
    <p:extLst>
      <p:ext uri="{BB962C8B-B14F-4D97-AF65-F5344CB8AC3E}">
        <p14:creationId xmlns:p14="http://schemas.microsoft.com/office/powerpoint/2010/main" val="1300283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1415187" y="3429000"/>
            <a:ext cx="9609045" cy="995838"/>
          </a:xfrm>
        </p:spPr>
        <p:txBody>
          <a:bodyPr/>
          <a:lstStyle>
            <a:lvl1pPr>
              <a:defRPr sz="5294">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Titl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70959" y="6128575"/>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43498" y="1635896"/>
            <a:ext cx="9630389" cy="1793104"/>
          </a:xfrm>
          <a:noFill/>
        </p:spPr>
        <p:txBody>
          <a:bodyPr lIns="0" tIns="0" rIns="0" bIns="182880" anchor="b" anchorCtr="0"/>
          <a:lstStyle>
            <a:lvl1pPr>
              <a:defRPr sz="4704" strike="noStrike" spc="-49" baseline="0">
                <a:solidFill>
                  <a:schemeClr val="accent5"/>
                </a:solidFill>
              </a:defRPr>
            </a:lvl1pPr>
          </a:lstStyle>
          <a:p>
            <a:r>
              <a:rPr lang="en-US"/>
              <a:t>Speaker Name</a:t>
            </a:r>
          </a:p>
        </p:txBody>
      </p:sp>
    </p:spTree>
    <p:extLst>
      <p:ext uri="{BB962C8B-B14F-4D97-AF65-F5344CB8AC3E}">
        <p14:creationId xmlns:p14="http://schemas.microsoft.com/office/powerpoint/2010/main" val="1985792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37526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137">
                <a:solidFill>
                  <a:schemeClr val="tx1"/>
                </a:solidFill>
              </a:defRPr>
            </a:lvl1pPr>
          </a:lstStyle>
          <a:p>
            <a:r>
              <a:rPr lang="en-US" dirty="0"/>
              <a:t>Best practice session design checklist</a:t>
            </a:r>
          </a:p>
        </p:txBody>
      </p:sp>
      <p:sp>
        <p:nvSpPr>
          <p:cNvPr id="23" name="Title 3">
            <a:extLst>
              <a:ext uri="{FF2B5EF4-FFF2-40B4-BE49-F238E27FC236}">
                <a16:creationId xmlns:a16="http://schemas.microsoft.com/office/drawing/2014/main" id="{3355A76C-F1BE-4C48-AB82-7D18C6A14BD5}"/>
              </a:ext>
            </a:extLst>
          </p:cNvPr>
          <p:cNvSpPr txBox="1">
            <a:spLocks/>
          </p:cNvSpPr>
          <p:nvPr userDrawn="1"/>
        </p:nvSpPr>
        <p:spPr bwMode="auto">
          <a:xfrm>
            <a:off x="569487" y="1986307"/>
            <a:ext cx="2492156" cy="3671070"/>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a:solidFill>
                  <a:srgbClr val="3C3C41"/>
                </a:solidFill>
                <a:latin typeface="Segoe UI Semibold"/>
                <a:cs typeface="Segoe UI Semilight" panose="020B0402040204020203" pitchFamily="34" charset="0"/>
              </a:rPr>
              <a:t>Relevant</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Does your session address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a very specific and current learning need by the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arget audience?</a:t>
            </a:r>
          </a:p>
          <a:p>
            <a:pPr defTabSz="896354"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I.e., are you addressing 1–3 learning objectives that describe what a learner is going to be better able to do as a result of attending your session?</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Have you taken into account the learner’s current skill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and/or knowledg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considering the international nature of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audience? </a:t>
            </a:r>
          </a:p>
        </p:txBody>
      </p:sp>
      <p:sp>
        <p:nvSpPr>
          <p:cNvPr id="30" name="Title 3">
            <a:extLst>
              <a:ext uri="{FF2B5EF4-FFF2-40B4-BE49-F238E27FC236}">
                <a16:creationId xmlns:a16="http://schemas.microsoft.com/office/drawing/2014/main" id="{E57DC146-95DE-4F55-AA5B-4204C773207A}"/>
              </a:ext>
            </a:extLst>
          </p:cNvPr>
          <p:cNvSpPr txBox="1">
            <a:spLocks/>
          </p:cNvSpPr>
          <p:nvPr userDrawn="1"/>
        </p:nvSpPr>
        <p:spPr bwMode="auto">
          <a:xfrm>
            <a:off x="3341841" y="1986308"/>
            <a:ext cx="2492156" cy="2766335"/>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dirty="0">
                <a:solidFill>
                  <a:srgbClr val="3C3C41"/>
                </a:solidFill>
                <a:latin typeface="Segoe UI Semibold"/>
                <a:cs typeface="Segoe UI Semilight" panose="020B0402040204020203" pitchFamily="34" charset="0"/>
              </a:rPr>
              <a:t>Easy to consume</a:t>
            </a:r>
          </a:p>
          <a:p>
            <a:pPr defTabSz="896354" fontAlgn="base">
              <a:lnSpc>
                <a:spcPct val="100000"/>
              </a:lnSpc>
              <a:spcBef>
                <a:spcPts val="784"/>
              </a:spcBef>
              <a:spcAft>
                <a:spcPct val="0"/>
              </a:spcAft>
              <a:defRPr/>
            </a:pPr>
            <a:r>
              <a:rPr lang="en-US" sz="1372" spc="0" dirty="0">
                <a:gradFill>
                  <a:gsLst>
                    <a:gs pos="1250">
                      <a:srgbClr val="3C3C41"/>
                    </a:gs>
                    <a:gs pos="100000">
                      <a:srgbClr val="3C3C41"/>
                    </a:gs>
                  </a:gsLst>
                  <a:lin ang="5400000" scaled="0"/>
                </a:gradFill>
              </a:rPr>
              <a:t>Does your content Power Automate logically in a way that is easy to follow?</a:t>
            </a:r>
          </a:p>
          <a:p>
            <a:pPr defTabSz="896354" fontAlgn="base">
              <a:lnSpc>
                <a:spcPct val="100000"/>
              </a:lnSpc>
              <a:spcBef>
                <a:spcPts val="784"/>
              </a:spcBef>
              <a:spcAft>
                <a:spcPct val="0"/>
              </a:spcAft>
              <a:defRPr/>
            </a:pPr>
            <a:r>
              <a:rPr lang="en-US" sz="1372" spc="0" dirty="0">
                <a:gradFill>
                  <a:gsLst>
                    <a:gs pos="1250">
                      <a:srgbClr val="3C3C41"/>
                    </a:gs>
                    <a:gs pos="100000">
                      <a:srgbClr val="3C3C41"/>
                    </a:gs>
                  </a:gsLst>
                  <a:lin ang="5400000" scaled="0"/>
                </a:gradFill>
              </a:rPr>
              <a:t>Do your ideas build directly on earlier ideas? Does every part fit perfectly into the whole?</a:t>
            </a:r>
          </a:p>
          <a:p>
            <a:pPr defTabSz="896354" fontAlgn="base">
              <a:lnSpc>
                <a:spcPct val="100000"/>
              </a:lnSpc>
              <a:spcBef>
                <a:spcPts val="784"/>
              </a:spcBef>
              <a:spcAft>
                <a:spcPct val="0"/>
              </a:spcAft>
              <a:defRPr/>
            </a:pPr>
            <a:r>
              <a:rPr lang="en-US" sz="1372" spc="0" dirty="0">
                <a:gradFill>
                  <a:gsLst>
                    <a:gs pos="1250">
                      <a:srgbClr val="3C3C41"/>
                    </a:gs>
                    <a:gs pos="100000">
                      <a:srgbClr val="3C3C41"/>
                    </a:gs>
                  </a:gsLst>
                  <a:lin ang="5400000" scaled="0"/>
                </a:gradFill>
              </a:rPr>
              <a:t>Have you checked that you have no extraneous content </a:t>
            </a:r>
            <a:br>
              <a:rPr lang="en-US" sz="1372" spc="0" dirty="0">
                <a:gradFill>
                  <a:gsLst>
                    <a:gs pos="1250">
                      <a:srgbClr val="3C3C41"/>
                    </a:gs>
                    <a:gs pos="100000">
                      <a:srgbClr val="3C3C41"/>
                    </a:gs>
                  </a:gsLst>
                  <a:lin ang="5400000" scaled="0"/>
                </a:gradFill>
              </a:rPr>
            </a:br>
            <a:r>
              <a:rPr lang="en-US" sz="1372" spc="0" dirty="0">
                <a:gradFill>
                  <a:gsLst>
                    <a:gs pos="1250">
                      <a:srgbClr val="3C3C41"/>
                    </a:gs>
                    <a:gs pos="100000">
                      <a:srgbClr val="3C3C41"/>
                    </a:gs>
                  </a:gsLst>
                  <a:lin ang="5400000" scaled="0"/>
                </a:gradFill>
              </a:rPr>
              <a:t>so as to avoid “information overload”?</a:t>
            </a:r>
          </a:p>
        </p:txBody>
      </p:sp>
      <p:sp>
        <p:nvSpPr>
          <p:cNvPr id="31" name="Title 3">
            <a:extLst>
              <a:ext uri="{FF2B5EF4-FFF2-40B4-BE49-F238E27FC236}">
                <a16:creationId xmlns:a16="http://schemas.microsoft.com/office/drawing/2014/main" id="{5647BE6F-F7CD-4B9D-B198-F428E1F6451E}"/>
              </a:ext>
            </a:extLst>
          </p:cNvPr>
          <p:cNvSpPr txBox="1">
            <a:spLocks/>
          </p:cNvSpPr>
          <p:nvPr userDrawn="1"/>
        </p:nvSpPr>
        <p:spPr bwMode="auto">
          <a:xfrm>
            <a:off x="6114193" y="1986307"/>
            <a:ext cx="2491707" cy="382186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a:solidFill>
                  <a:srgbClr val="3C3C41"/>
                </a:solidFill>
                <a:latin typeface="Segoe UI Semibold"/>
                <a:cs typeface="Segoe UI Semilight" panose="020B0402040204020203" pitchFamily="34" charset="0"/>
              </a:rPr>
              <a:t>Memorabl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ensuring learners will retain the content? </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actively engaging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audience throughout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session?</a:t>
            </a:r>
          </a:p>
          <a:p>
            <a:pPr defTabSz="896354"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E.g., providing time to reflect and react to what they are learning, </a:t>
            </a:r>
            <a:br>
              <a:rPr lang="en-US" sz="1176" spc="0">
                <a:gradFill>
                  <a:gsLst>
                    <a:gs pos="87982">
                      <a:srgbClr val="3C3C41">
                        <a:lumMod val="75000"/>
                        <a:lumOff val="25000"/>
                      </a:srgbClr>
                    </a:gs>
                    <a:gs pos="19000">
                      <a:srgbClr val="3C3C41">
                        <a:lumMod val="75000"/>
                        <a:lumOff val="25000"/>
                      </a:srgbClr>
                    </a:gs>
                  </a:gsLst>
                  <a:lin ang="5400000" scaled="0"/>
                </a:gradFill>
              </a:rPr>
            </a:br>
            <a:r>
              <a:rPr lang="en-US" sz="1176" spc="0">
                <a:gradFill>
                  <a:gsLst>
                    <a:gs pos="87982">
                      <a:srgbClr val="3C3C41">
                        <a:lumMod val="75000"/>
                        <a:lumOff val="25000"/>
                      </a:srgbClr>
                    </a:gs>
                    <a:gs pos="19000">
                      <a:srgbClr val="3C3C41">
                        <a:lumMod val="75000"/>
                        <a:lumOff val="25000"/>
                      </a:srgbClr>
                    </a:gs>
                  </a:gsLst>
                  <a:lin ang="5400000" scaled="0"/>
                </a:gradFill>
              </a:rPr>
              <a:t>role play, practice, solve challenges, action plan, test their understanding, and/or learn from peers? </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using storytelling techniques?</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Have you included real life customer scenarios, examples and/or case studies?</a:t>
            </a:r>
          </a:p>
        </p:txBody>
      </p:sp>
      <p:sp>
        <p:nvSpPr>
          <p:cNvPr id="32" name="Title 3">
            <a:extLst>
              <a:ext uri="{FF2B5EF4-FFF2-40B4-BE49-F238E27FC236}">
                <a16:creationId xmlns:a16="http://schemas.microsoft.com/office/drawing/2014/main" id="{C09ADAC3-9EE9-4AF5-BDE2-5ECDA944B9C9}"/>
              </a:ext>
            </a:extLst>
          </p:cNvPr>
          <p:cNvSpPr txBox="1">
            <a:spLocks/>
          </p:cNvSpPr>
          <p:nvPr userDrawn="1"/>
        </p:nvSpPr>
        <p:spPr bwMode="auto">
          <a:xfrm>
            <a:off x="8886547" y="1986307"/>
            <a:ext cx="2492156" cy="352014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896354">
              <a:lnSpc>
                <a:spcPct val="100000"/>
              </a:lnSpc>
              <a:spcBef>
                <a:spcPts val="0"/>
              </a:spcBef>
              <a:spcAft>
                <a:spcPts val="392"/>
              </a:spcAft>
            </a:pPr>
            <a:r>
              <a:rPr lang="en-US" sz="1922" spc="0">
                <a:solidFill>
                  <a:srgbClr val="3C3C41"/>
                </a:solidFill>
                <a:latin typeface="Segoe UI Semibold"/>
                <a:cs typeface="Segoe UI Semilight" panose="020B0402040204020203" pitchFamily="34" charset="0"/>
              </a:rPr>
              <a:t>Applicabl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motivating learners to apply what they have learned?</a:t>
            </a:r>
          </a:p>
          <a:p>
            <a:pPr defTabSz="896354" fontAlgn="base">
              <a:lnSpc>
                <a:spcPct val="100000"/>
              </a:lnSpc>
              <a:spcBef>
                <a:spcPts val="0"/>
              </a:spcBef>
              <a:spcAft>
                <a:spcPct val="0"/>
              </a:spcAft>
              <a:defRPr/>
            </a:pPr>
            <a:r>
              <a:rPr lang="en-US" sz="1176" spc="0">
                <a:gradFill>
                  <a:gsLst>
                    <a:gs pos="87982">
                      <a:srgbClr val="3C3C41">
                        <a:lumMod val="75000"/>
                        <a:lumOff val="25000"/>
                      </a:srgbClr>
                    </a:gs>
                    <a:gs pos="19000">
                      <a:srgbClr val="3C3C41">
                        <a:lumMod val="75000"/>
                        <a:lumOff val="25000"/>
                      </a:srgbClr>
                    </a:gs>
                  </a:gsLst>
                  <a:lin ang="5400000" scaled="0"/>
                </a:gradFill>
              </a:rPr>
              <a:t>E.g., providing proof points</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providing practical guidance and tips geared to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target role?</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including customer-ready demos, customer impact data and/or customer success stories?</a:t>
            </a:r>
          </a:p>
          <a:p>
            <a:pPr defTabSz="896354" fontAlgn="base">
              <a:lnSpc>
                <a:spcPct val="100000"/>
              </a:lnSpc>
              <a:spcBef>
                <a:spcPts val="784"/>
              </a:spcBef>
              <a:spcAft>
                <a:spcPct val="0"/>
              </a:spcAft>
              <a:defRPr/>
            </a:pPr>
            <a:r>
              <a:rPr lang="en-US" sz="1372" spc="0">
                <a:gradFill>
                  <a:gsLst>
                    <a:gs pos="1250">
                      <a:srgbClr val="3C3C41"/>
                    </a:gs>
                    <a:gs pos="100000">
                      <a:srgbClr val="3C3C41"/>
                    </a:gs>
                  </a:gsLst>
                  <a:lin ang="5400000" scaled="0"/>
                </a:gradFill>
              </a:rPr>
              <a:t>Are you providing resources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for learners to leverage after </a:t>
            </a:r>
            <a:br>
              <a:rPr lang="en-US" sz="1372" spc="0">
                <a:gradFill>
                  <a:gsLst>
                    <a:gs pos="1250">
                      <a:srgbClr val="3C3C41"/>
                    </a:gs>
                    <a:gs pos="100000">
                      <a:srgbClr val="3C3C41"/>
                    </a:gs>
                  </a:gsLst>
                  <a:lin ang="5400000" scaled="0"/>
                </a:gradFill>
              </a:rPr>
            </a:br>
            <a:r>
              <a:rPr lang="en-US" sz="1372" spc="0">
                <a:gradFill>
                  <a:gsLst>
                    <a:gs pos="1250">
                      <a:srgbClr val="3C3C41"/>
                    </a:gs>
                    <a:gs pos="100000">
                      <a:srgbClr val="3C3C41"/>
                    </a:gs>
                  </a:gsLst>
                  <a:lin ang="5400000" scaled="0"/>
                </a:gradFill>
              </a:rPr>
              <a:t>the event?</a:t>
            </a:r>
          </a:p>
        </p:txBody>
      </p:sp>
      <p:sp>
        <p:nvSpPr>
          <p:cNvPr id="33" name="target_2" title="Icon of a target with an arrow hitting the bullseye">
            <a:extLst>
              <a:ext uri="{FF2B5EF4-FFF2-40B4-BE49-F238E27FC236}">
                <a16:creationId xmlns:a16="http://schemas.microsoft.com/office/drawing/2014/main" id="{ED20229A-4A78-4D4D-9A1F-588E073963F7}"/>
              </a:ext>
            </a:extLst>
          </p:cNvPr>
          <p:cNvSpPr>
            <a:spLocks noChangeAspect="1" noEditPoints="1"/>
          </p:cNvSpPr>
          <p:nvPr userDrawn="1"/>
        </p:nvSpPr>
        <p:spPr bwMode="auto">
          <a:xfrm>
            <a:off x="569487" y="1415894"/>
            <a:ext cx="359953" cy="35857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rgbClr val="30E5D0"/>
            </a:solidFill>
            <a:prstDash val="soli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1730">
              <a:gradFill>
                <a:gsLst>
                  <a:gs pos="0">
                    <a:srgbClr val="505050"/>
                  </a:gs>
                  <a:gs pos="100000">
                    <a:srgbClr val="505050"/>
                  </a:gs>
                </a:gsLst>
              </a:gradFill>
              <a:latin typeface="Segoe UI"/>
            </a:endParaRPr>
          </a:p>
        </p:txBody>
      </p:sp>
      <p:sp>
        <p:nvSpPr>
          <p:cNvPr id="34" name="Processing_E9F5" title="Icon of two interlocked gears">
            <a:extLst>
              <a:ext uri="{FF2B5EF4-FFF2-40B4-BE49-F238E27FC236}">
                <a16:creationId xmlns:a16="http://schemas.microsoft.com/office/drawing/2014/main" id="{39014F4D-D5A3-4524-B17A-62C3C6C6CB83}"/>
              </a:ext>
            </a:extLst>
          </p:cNvPr>
          <p:cNvSpPr>
            <a:spLocks noChangeAspect="1" noEditPoints="1"/>
          </p:cNvSpPr>
          <p:nvPr userDrawn="1"/>
        </p:nvSpPr>
        <p:spPr bwMode="auto">
          <a:xfrm>
            <a:off x="8886547" y="1415894"/>
            <a:ext cx="411649" cy="3585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1730">
              <a:solidFill>
                <a:srgbClr val="3C3C41"/>
              </a:solidFill>
              <a:latin typeface="Segoe UI"/>
            </a:endParaRPr>
          </a:p>
        </p:txBody>
      </p:sp>
      <p:sp>
        <p:nvSpPr>
          <p:cNvPr id="35" name="Org_ECA6" title="Icon of three boxes in a bracket chart">
            <a:extLst>
              <a:ext uri="{FF2B5EF4-FFF2-40B4-BE49-F238E27FC236}">
                <a16:creationId xmlns:a16="http://schemas.microsoft.com/office/drawing/2014/main" id="{E847E087-2A98-476F-948D-C81D105082AA}"/>
              </a:ext>
            </a:extLst>
          </p:cNvPr>
          <p:cNvSpPr>
            <a:spLocks noChangeAspect="1" noEditPoints="1"/>
          </p:cNvSpPr>
          <p:nvPr userDrawn="1"/>
        </p:nvSpPr>
        <p:spPr bwMode="auto">
          <a:xfrm>
            <a:off x="3341840" y="1415894"/>
            <a:ext cx="358344" cy="35857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882">
              <a:gradFill>
                <a:gsLst>
                  <a:gs pos="0">
                    <a:srgbClr val="505050"/>
                  </a:gs>
                  <a:gs pos="100000">
                    <a:srgbClr val="505050"/>
                  </a:gs>
                </a:gsLst>
                <a:lin ang="5400000" scaled="1"/>
              </a:gradFill>
              <a:latin typeface="Segoe UI"/>
            </a:endParaRPr>
          </a:p>
        </p:txBody>
      </p:sp>
      <p:sp>
        <p:nvSpPr>
          <p:cNvPr id="36" name="manager" title="Icon of three people with lines connecting them">
            <a:extLst>
              <a:ext uri="{FF2B5EF4-FFF2-40B4-BE49-F238E27FC236}">
                <a16:creationId xmlns:a16="http://schemas.microsoft.com/office/drawing/2014/main" id="{30A12689-45F7-4127-8EE0-837581702A06}"/>
              </a:ext>
            </a:extLst>
          </p:cNvPr>
          <p:cNvSpPr>
            <a:spLocks noChangeAspect="1" noEditPoints="1"/>
          </p:cNvSpPr>
          <p:nvPr userDrawn="1"/>
        </p:nvSpPr>
        <p:spPr bwMode="auto">
          <a:xfrm>
            <a:off x="6114193" y="1415894"/>
            <a:ext cx="355697" cy="35857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rgbClr val="30E5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354"/>
            <a:endParaRPr lang="en-US" sz="1730">
              <a:solidFill>
                <a:srgbClr val="3C3C41"/>
              </a:solidFill>
              <a:latin typeface="Segoe UI"/>
            </a:endParaRPr>
          </a:p>
        </p:txBody>
      </p:sp>
    </p:spTree>
    <p:extLst>
      <p:ext uri="{BB962C8B-B14F-4D97-AF65-F5344CB8AC3E}">
        <p14:creationId xmlns:p14="http://schemas.microsoft.com/office/powerpoint/2010/main" val="232977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Session takeaways</a:t>
            </a:r>
            <a:endParaRPr lang="en-US" dirty="0"/>
          </a:p>
        </p:txBody>
      </p:sp>
      <p:sp>
        <p:nvSpPr>
          <p:cNvPr id="12" name="Text Placeholder 4">
            <a:extLst>
              <a:ext uri="{FF2B5EF4-FFF2-40B4-BE49-F238E27FC236}">
                <a16:creationId xmlns:a16="http://schemas.microsoft.com/office/drawing/2014/main" id="{B492EEBA-42DE-4397-A792-E691B5BDD3D9}"/>
              </a:ext>
            </a:extLst>
          </p:cNvPr>
          <p:cNvSpPr>
            <a:spLocks noGrp="1"/>
          </p:cNvSpPr>
          <p:nvPr>
            <p:ph type="body" sz="quarter" idx="10"/>
          </p:nvPr>
        </p:nvSpPr>
        <p:spPr>
          <a:xfrm>
            <a:off x="573482" y="1407756"/>
            <a:ext cx="10800387" cy="1715855"/>
          </a:xfrm>
        </p:spPr>
        <p:txBody>
          <a:bodyPr/>
          <a:lstStyle>
            <a:lvl1pPr marL="329523" indent="-329523">
              <a:buFont typeface="Arial" panose="020B0604020202020204" pitchFamily="34" charset="0"/>
              <a:buChar char="•"/>
              <a:defRPr/>
            </a:lvl1pPr>
          </a:lstStyle>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Key takeaway 1</a:t>
            </a:r>
          </a:p>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Key takeaway 2</a:t>
            </a:r>
          </a:p>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Action 1]</a:t>
            </a:r>
          </a:p>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Action 2]</a:t>
            </a:r>
          </a:p>
          <a:p>
            <a:endParaRPr lang="en-US"/>
          </a:p>
        </p:txBody>
      </p:sp>
    </p:spTree>
    <p:extLst>
      <p:ext uri="{BB962C8B-B14F-4D97-AF65-F5344CB8AC3E}">
        <p14:creationId xmlns:p14="http://schemas.microsoft.com/office/powerpoint/2010/main" val="220903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137">
                <a:solidFill>
                  <a:schemeClr val="tx1"/>
                </a:solidFill>
              </a:defRPr>
            </a:lvl1pPr>
          </a:lstStyle>
          <a:p>
            <a:r>
              <a:rPr kumimoji="0" lang="en-US" sz="2691" b="0" i="0" u="none" strike="noStrike" kern="1200" cap="none" spc="-48" normalizeH="0" baseline="0" noProof="0" dirty="0">
                <a:ln w="3175">
                  <a:noFill/>
                </a:ln>
                <a:solidFill>
                  <a:srgbClr val="3C3C41"/>
                </a:solidFill>
                <a:effectLst/>
                <a:uLnTx/>
                <a:uFillTx/>
                <a:latin typeface="+mj-lt"/>
                <a:ea typeface="+mn-ea"/>
                <a:cs typeface="Segoe UI" pitchFamily="34" charset="0"/>
              </a:rPr>
              <a:t>Session resources</a:t>
            </a:r>
            <a:endParaRPr lang="en-US" dirty="0"/>
          </a:p>
        </p:txBody>
      </p:sp>
      <p:sp>
        <p:nvSpPr>
          <p:cNvPr id="12" name="Text Placeholder 4">
            <a:extLst>
              <a:ext uri="{FF2B5EF4-FFF2-40B4-BE49-F238E27FC236}">
                <a16:creationId xmlns:a16="http://schemas.microsoft.com/office/drawing/2014/main" id="{B492EEBA-42DE-4397-A792-E691B5BDD3D9}"/>
              </a:ext>
            </a:extLst>
          </p:cNvPr>
          <p:cNvSpPr>
            <a:spLocks noGrp="1"/>
          </p:cNvSpPr>
          <p:nvPr>
            <p:ph type="body" sz="quarter" idx="10" hasCustomPrompt="1"/>
          </p:nvPr>
        </p:nvSpPr>
        <p:spPr>
          <a:xfrm>
            <a:off x="573482" y="1407755"/>
            <a:ext cx="10800387" cy="2022482"/>
          </a:xfrm>
        </p:spPr>
        <p:txBody>
          <a:bodyPr/>
          <a:lstStyle>
            <a:lvl1pPr marL="329523" marR="0" indent="-329523"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lvl1pPr>
          </a:lstStyle>
          <a:p>
            <a:pPr marL="336145" indent="-336145">
              <a:buFont typeface="Arial" panose="020B0604020202020204" pitchFamily="34" charset="0"/>
              <a:buChar char="•"/>
            </a:pPr>
            <a:r>
              <a:rPr lang="en-US" sz="1922" spc="0">
                <a:latin typeface="Segoe UI Semilight" panose="020B0402040204020203" pitchFamily="34" charset="0"/>
                <a:cs typeface="Segoe UI Semilight" panose="020B0402040204020203" pitchFamily="34" charset="0"/>
              </a:rPr>
              <a:t>[Resource 1]</a:t>
            </a:r>
          </a:p>
          <a:p>
            <a:pPr marL="329523" marR="0" lvl="0" indent="-329523"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922" spc="0">
                <a:latin typeface="Segoe UI Semilight" panose="020B0402040204020203" pitchFamily="34" charset="0"/>
                <a:cs typeface="Segoe UI Semilight" panose="020B0402040204020203" pitchFamily="34" charset="0"/>
              </a:rPr>
              <a:t>[Resource 2]</a:t>
            </a:r>
          </a:p>
          <a:p>
            <a:pPr marL="329523" marR="0" lvl="0" indent="-329523"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sz="1922" spc="0">
                <a:latin typeface="Segoe UI Semilight" panose="020B0402040204020203" pitchFamily="34" charset="0"/>
                <a:cs typeface="Segoe UI Semilight" panose="020B0402040204020203" pitchFamily="34" charset="0"/>
              </a:rPr>
              <a:t>[Resource 3]</a:t>
            </a:r>
          </a:p>
          <a:p>
            <a:pPr marL="336145" indent="-336145">
              <a:buFont typeface="Arial" panose="020B0604020202020204" pitchFamily="34" charset="0"/>
              <a:buChar char="•"/>
            </a:pPr>
            <a:endParaRPr lang="en-US" sz="1922" spc="0">
              <a:latin typeface="Segoe UI Semilight" panose="020B0402040204020203" pitchFamily="34" charset="0"/>
              <a:cs typeface="Segoe UI Semilight" panose="020B0402040204020203" pitchFamily="34" charset="0"/>
            </a:endParaRPr>
          </a:p>
          <a:p>
            <a:pPr marL="336145" indent="-336145">
              <a:buFont typeface="Arial" panose="020B0604020202020204" pitchFamily="34" charset="0"/>
              <a:buChar char="•"/>
            </a:pPr>
            <a:endParaRPr lang="en-US" sz="1922" spc="0">
              <a:latin typeface="Segoe UI Semilight" panose="020B0402040204020203" pitchFamily="34" charset="0"/>
              <a:cs typeface="Segoe UI Semilight" panose="020B0402040204020203" pitchFamily="34" charset="0"/>
            </a:endParaRPr>
          </a:p>
          <a:p>
            <a:endParaRPr lang="en-US"/>
          </a:p>
        </p:txBody>
      </p:sp>
    </p:spTree>
    <p:extLst>
      <p:ext uri="{BB962C8B-B14F-4D97-AF65-F5344CB8AC3E}">
        <p14:creationId xmlns:p14="http://schemas.microsoft.com/office/powerpoint/2010/main" val="426696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804508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2990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Chart examples</a:t>
            </a:r>
          </a:p>
        </p:txBody>
      </p:sp>
      <p:graphicFrame>
        <p:nvGraphicFramePr>
          <p:cNvPr id="21" name="Chart Placeholder 36">
            <a:extLst>
              <a:ext uri="{FF2B5EF4-FFF2-40B4-BE49-F238E27FC236}">
                <a16:creationId xmlns:a16="http://schemas.microsoft.com/office/drawing/2014/main" id="{070CE79C-6FB8-4FB3-B0AD-EC1D4A95AFCE}"/>
              </a:ext>
            </a:extLst>
          </p:cNvPr>
          <p:cNvGraphicFramePr>
            <a:graphicFrameLocks/>
          </p:cNvGraphicFramePr>
          <p:nvPr userDrawn="1"/>
        </p:nvGraphicFramePr>
        <p:xfrm>
          <a:off x="456000" y="1364559"/>
          <a:ext cx="3547251" cy="3465355"/>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 Placeholder 154">
            <a:extLst>
              <a:ext uri="{FF2B5EF4-FFF2-40B4-BE49-F238E27FC236}">
                <a16:creationId xmlns:a16="http://schemas.microsoft.com/office/drawing/2014/main" id="{8F42AAC5-C943-4CE7-8BAE-21A5F7AB4149}"/>
              </a:ext>
            </a:extLst>
          </p:cNvPr>
          <p:cNvSpPr>
            <a:spLocks noGrp="1"/>
          </p:cNvSpPr>
          <p:nvPr>
            <p:ph type="body" sz="quarter" idx="12"/>
          </p:nvPr>
        </p:nvSpPr>
        <p:spPr>
          <a:xfrm>
            <a:off x="455997" y="5194945"/>
            <a:ext cx="3547251" cy="633715"/>
          </a:xfr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980" b="0" kern="1200" spc="-49" baseline="0" dirty="0">
                <a:solidFill>
                  <a:schemeClr val="tx1"/>
                </a:solidFill>
                <a:latin typeface="+mn-lt"/>
                <a:ea typeface="+mn-ea"/>
                <a:cs typeface="+mn-cs"/>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sp>
        <p:nvSpPr>
          <p:cNvPr id="30" name="Text Placeholder 155">
            <a:extLst>
              <a:ext uri="{FF2B5EF4-FFF2-40B4-BE49-F238E27FC236}">
                <a16:creationId xmlns:a16="http://schemas.microsoft.com/office/drawing/2014/main" id="{6CF125C6-DE83-4075-8014-AFB0F7292779}"/>
              </a:ext>
            </a:extLst>
          </p:cNvPr>
          <p:cNvSpPr>
            <a:spLocks noGrp="1"/>
          </p:cNvSpPr>
          <p:nvPr>
            <p:ph type="body" sz="quarter" idx="18"/>
          </p:nvPr>
        </p:nvSpPr>
        <p:spPr>
          <a:xfrm>
            <a:off x="4227530" y="5194945"/>
            <a:ext cx="3536571" cy="633715"/>
          </a:xfrm>
        </p:spPr>
        <p:txBody>
          <a:bodyPr/>
          <a:lstStyle>
            <a:lvl1pPr>
              <a:defRPr sz="980" b="0">
                <a:latin typeface="+mn-lt"/>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graphicFrame>
        <p:nvGraphicFramePr>
          <p:cNvPr id="31" name="Chart Placeholder 39">
            <a:extLst>
              <a:ext uri="{FF2B5EF4-FFF2-40B4-BE49-F238E27FC236}">
                <a16:creationId xmlns:a16="http://schemas.microsoft.com/office/drawing/2014/main" id="{1C834022-6AD3-492C-82DC-A61BB35D0EC1}"/>
              </a:ext>
            </a:extLst>
          </p:cNvPr>
          <p:cNvGraphicFramePr>
            <a:graphicFrameLocks/>
          </p:cNvGraphicFramePr>
          <p:nvPr userDrawn="1"/>
        </p:nvGraphicFramePr>
        <p:xfrm>
          <a:off x="4227530" y="1364559"/>
          <a:ext cx="3536571" cy="34653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Placeholder 42">
            <a:extLst>
              <a:ext uri="{FF2B5EF4-FFF2-40B4-BE49-F238E27FC236}">
                <a16:creationId xmlns:a16="http://schemas.microsoft.com/office/drawing/2014/main" id="{BA695EA7-607A-4F32-87E1-599C69DE5608}"/>
              </a:ext>
            </a:extLst>
          </p:cNvPr>
          <p:cNvGraphicFramePr>
            <a:graphicFrameLocks/>
          </p:cNvGraphicFramePr>
          <p:nvPr userDrawn="1"/>
        </p:nvGraphicFramePr>
        <p:xfrm>
          <a:off x="7988378" y="1364559"/>
          <a:ext cx="3551828" cy="3465355"/>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 Placeholder 142">
            <a:extLst>
              <a:ext uri="{FF2B5EF4-FFF2-40B4-BE49-F238E27FC236}">
                <a16:creationId xmlns:a16="http://schemas.microsoft.com/office/drawing/2014/main" id="{B960B01D-3746-4017-8741-61FFC97697DB}"/>
              </a:ext>
            </a:extLst>
          </p:cNvPr>
          <p:cNvSpPr>
            <a:spLocks noGrp="1"/>
          </p:cNvSpPr>
          <p:nvPr>
            <p:ph type="body" sz="quarter" idx="24"/>
          </p:nvPr>
        </p:nvSpPr>
        <p:spPr>
          <a:xfrm>
            <a:off x="455995" y="5011809"/>
            <a:ext cx="3557934" cy="482831"/>
          </a:xfrm>
        </p:spPr>
        <p:txBody>
          <a:bodyPr/>
          <a:lstStyle>
            <a:lvl1pPr>
              <a:defRPr sz="980"/>
            </a:lvl1pPr>
          </a:lstStyle>
          <a:p>
            <a:r>
              <a:rPr lang="en-US"/>
              <a:t>Caption title Segoe bold 10/12. </a:t>
            </a:r>
          </a:p>
          <a:p>
            <a:endParaRPr lang="en-US"/>
          </a:p>
        </p:txBody>
      </p:sp>
      <p:sp>
        <p:nvSpPr>
          <p:cNvPr id="34" name="Text Placeholder 143">
            <a:extLst>
              <a:ext uri="{FF2B5EF4-FFF2-40B4-BE49-F238E27FC236}">
                <a16:creationId xmlns:a16="http://schemas.microsoft.com/office/drawing/2014/main" id="{1095D39E-702F-47E4-AE83-2AFC9DFA682A}"/>
              </a:ext>
            </a:extLst>
          </p:cNvPr>
          <p:cNvSpPr>
            <a:spLocks noGrp="1"/>
          </p:cNvSpPr>
          <p:nvPr>
            <p:ph type="body" sz="quarter" idx="25"/>
          </p:nvPr>
        </p:nvSpPr>
        <p:spPr>
          <a:xfrm>
            <a:off x="4238207" y="5011809"/>
            <a:ext cx="3557934" cy="482831"/>
          </a:xfrm>
        </p:spPr>
        <p:txBody>
          <a:bodyPr/>
          <a:lstStyle>
            <a:lvl1pPr>
              <a:defRPr sz="980"/>
            </a:lvl1pPr>
          </a:lstStyle>
          <a:p>
            <a:r>
              <a:rPr lang="en-US"/>
              <a:t>Caption title Segoe bold 10/12. </a:t>
            </a:r>
          </a:p>
          <a:p>
            <a:endParaRPr lang="en-US"/>
          </a:p>
        </p:txBody>
      </p:sp>
      <p:sp>
        <p:nvSpPr>
          <p:cNvPr id="35" name="Text Placeholder 144">
            <a:extLst>
              <a:ext uri="{FF2B5EF4-FFF2-40B4-BE49-F238E27FC236}">
                <a16:creationId xmlns:a16="http://schemas.microsoft.com/office/drawing/2014/main" id="{44E854A9-DCA3-4A09-86A2-A0FF548A109A}"/>
              </a:ext>
            </a:extLst>
          </p:cNvPr>
          <p:cNvSpPr>
            <a:spLocks noGrp="1"/>
          </p:cNvSpPr>
          <p:nvPr>
            <p:ph type="body" sz="quarter" idx="26"/>
          </p:nvPr>
        </p:nvSpPr>
        <p:spPr>
          <a:xfrm>
            <a:off x="7988377" y="5011809"/>
            <a:ext cx="3557934" cy="482831"/>
          </a:xfrm>
        </p:spPr>
        <p:txBody>
          <a:bodyPr/>
          <a:lstStyle>
            <a:lvl1pPr>
              <a:defRPr sz="980"/>
            </a:lvl1pPr>
          </a:lstStyle>
          <a:p>
            <a:r>
              <a:rPr lang="en-US"/>
              <a:t>Caption title Segoe bold 10/12. </a:t>
            </a:r>
          </a:p>
          <a:p>
            <a:endParaRPr lang="en-US"/>
          </a:p>
        </p:txBody>
      </p:sp>
      <p:sp>
        <p:nvSpPr>
          <p:cNvPr id="36" name="Text Placeholder 168">
            <a:extLst>
              <a:ext uri="{FF2B5EF4-FFF2-40B4-BE49-F238E27FC236}">
                <a16:creationId xmlns:a16="http://schemas.microsoft.com/office/drawing/2014/main" id="{14070B72-6645-4271-A6BB-17E4EE6DAE22}"/>
              </a:ext>
            </a:extLst>
          </p:cNvPr>
          <p:cNvSpPr>
            <a:spLocks noGrp="1"/>
          </p:cNvSpPr>
          <p:nvPr>
            <p:ph type="body" sz="quarter" idx="27"/>
          </p:nvPr>
        </p:nvSpPr>
        <p:spPr>
          <a:xfrm>
            <a:off x="7988378" y="5194945"/>
            <a:ext cx="3536571" cy="633715"/>
          </a:xfr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980" b="0" kern="1200" spc="-49" baseline="0" dirty="0">
                <a:solidFill>
                  <a:schemeClr val="tx1"/>
                </a:solidFill>
                <a:latin typeface="+mn-lt"/>
                <a:ea typeface="+mn-ea"/>
                <a:cs typeface="+mn-cs"/>
              </a:defRPr>
            </a:lvl1pPr>
          </a:lstStyle>
          <a:p>
            <a:r>
              <a:rPr lang="en-US"/>
              <a:t>Caption body copy Segoe Regular 10/12. </a:t>
            </a:r>
            <a:r>
              <a:rPr lang="en-US" err="1"/>
              <a:t>Cavorest</a:t>
            </a:r>
            <a:r>
              <a:rPr lang="en-US"/>
              <a:t> a </a:t>
            </a:r>
            <a:r>
              <a:rPr lang="en-US" err="1"/>
              <a:t>aut</a:t>
            </a:r>
            <a:r>
              <a:rPr lang="en-US"/>
              <a:t> arum </a:t>
            </a:r>
            <a:r>
              <a:rPr lang="en-US" err="1"/>
              <a:t>quam</a:t>
            </a:r>
            <a:r>
              <a:rPr lang="en-US"/>
              <a:t> id eat.</a:t>
            </a:r>
          </a:p>
          <a:p>
            <a:endParaRPr lang="en-US"/>
          </a:p>
        </p:txBody>
      </p:sp>
    </p:spTree>
    <p:extLst>
      <p:ext uri="{BB962C8B-B14F-4D97-AF65-F5344CB8AC3E}">
        <p14:creationId xmlns:p14="http://schemas.microsoft.com/office/powerpoint/2010/main" val="320596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7">
                <a:solidFill>
                  <a:schemeClr val="tx1"/>
                </a:solidFill>
              </a:defRPr>
            </a:lvl1pPr>
          </a:lstStyle>
          <a:p>
            <a:r>
              <a:rPr lang="en-US" dirty="0"/>
              <a:t>Table styling</a:t>
            </a:r>
          </a:p>
        </p:txBody>
      </p:sp>
      <p:graphicFrame>
        <p:nvGraphicFramePr>
          <p:cNvPr id="12" name="Table Placeholder 9">
            <a:extLst>
              <a:ext uri="{FF2B5EF4-FFF2-40B4-BE49-F238E27FC236}">
                <a16:creationId xmlns:a16="http://schemas.microsoft.com/office/drawing/2014/main" id="{7A0BEB7E-886C-40BA-B449-08A2DD7BA9BB}"/>
              </a:ext>
            </a:extLst>
          </p:cNvPr>
          <p:cNvGraphicFramePr>
            <a:graphicFrameLocks/>
          </p:cNvGraphicFramePr>
          <p:nvPr userDrawn="1"/>
        </p:nvGraphicFramePr>
        <p:xfrm>
          <a:off x="447031" y="2116924"/>
          <a:ext cx="11084210" cy="3625576"/>
        </p:xfrm>
        <a:graphic>
          <a:graphicData uri="http://schemas.openxmlformats.org/drawingml/2006/table">
            <a:tbl>
              <a:tblPr firstRow="1" bandRow="1">
                <a:tableStyleId>{5C22544A-7EE6-4342-B048-85BDC9FD1C3A}</a:tableStyleId>
              </a:tblPr>
              <a:tblGrid>
                <a:gridCol w="1633814">
                  <a:extLst>
                    <a:ext uri="{9D8B030D-6E8A-4147-A177-3AD203B41FA5}">
                      <a16:colId xmlns:a16="http://schemas.microsoft.com/office/drawing/2014/main" val="1660435346"/>
                    </a:ext>
                  </a:extLst>
                </a:gridCol>
                <a:gridCol w="3150132">
                  <a:extLst>
                    <a:ext uri="{9D8B030D-6E8A-4147-A177-3AD203B41FA5}">
                      <a16:colId xmlns:a16="http://schemas.microsoft.com/office/drawing/2014/main" val="2527464308"/>
                    </a:ext>
                  </a:extLst>
                </a:gridCol>
                <a:gridCol w="3150132">
                  <a:extLst>
                    <a:ext uri="{9D8B030D-6E8A-4147-A177-3AD203B41FA5}">
                      <a16:colId xmlns:a16="http://schemas.microsoft.com/office/drawing/2014/main" val="503937480"/>
                    </a:ext>
                  </a:extLst>
                </a:gridCol>
                <a:gridCol w="3150132">
                  <a:extLst>
                    <a:ext uri="{9D8B030D-6E8A-4147-A177-3AD203B41FA5}">
                      <a16:colId xmlns:a16="http://schemas.microsoft.com/office/drawing/2014/main" val="308701744"/>
                    </a:ext>
                  </a:extLst>
                </a:gridCol>
              </a:tblGrid>
              <a:tr h="608335">
                <a:tc>
                  <a:txBody>
                    <a:bodyPr/>
                    <a:lstStyle/>
                    <a:p>
                      <a:endParaRPr lang="en-US" sz="1700" b="0">
                        <a:latin typeface="+mj-lt"/>
                      </a:endParaRPr>
                    </a:p>
                  </a:txBody>
                  <a:tcPr marL="87880" marR="87880" marT="43946"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400" b="0">
                          <a:solidFill>
                            <a:schemeClr val="bg2"/>
                          </a:solidFill>
                          <a:latin typeface="+mj-lt"/>
                        </a:rPr>
                        <a:t>Column 1</a:t>
                      </a:r>
                    </a:p>
                  </a:txBody>
                  <a:tcPr marL="87880" marR="87880" marT="43946" marB="4394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400" b="0">
                          <a:solidFill>
                            <a:schemeClr val="bg2"/>
                          </a:solidFill>
                          <a:latin typeface="+mj-lt"/>
                        </a:rPr>
                        <a:t>Column 2</a:t>
                      </a:r>
                    </a:p>
                  </a:txBody>
                  <a:tcPr marL="87880" marR="87880" marT="43946" marB="4394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pPr>
                        <a:lnSpc>
                          <a:spcPts val="1600"/>
                        </a:lnSpc>
                      </a:pPr>
                      <a:r>
                        <a:rPr lang="en-US" sz="1400" b="0">
                          <a:solidFill>
                            <a:schemeClr val="bg2"/>
                          </a:solidFill>
                          <a:latin typeface="+mj-lt"/>
                        </a:rPr>
                        <a:t>Column 3</a:t>
                      </a:r>
                    </a:p>
                  </a:txBody>
                  <a:tcPr marL="87880" marR="87880" marT="43946" marB="4394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230065927"/>
                  </a:ext>
                </a:extLst>
              </a:tr>
              <a:tr h="1005747">
                <a:tc>
                  <a:txBody>
                    <a:bodyPr/>
                    <a:lstStyle/>
                    <a:p>
                      <a:pPr>
                        <a:lnSpc>
                          <a:spcPts val="1600"/>
                        </a:lnSpc>
                      </a:pPr>
                      <a:r>
                        <a:rPr lang="en-US" sz="1400" b="0" i="0">
                          <a:solidFill>
                            <a:schemeClr val="tx2"/>
                          </a:solidFill>
                          <a:latin typeface="+mj-lt"/>
                        </a:rPr>
                        <a:t>Row 1</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nSpc>
                          <a:spcPts val="1600"/>
                        </a:lnSpc>
                      </a:pPr>
                      <a:r>
                        <a:rPr lang="en-US" sz="1400" b="0" i="0">
                          <a:latin typeface="+mn-lt"/>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614321566"/>
                  </a:ext>
                </a:extLst>
              </a:tr>
              <a:tr h="1005747">
                <a:tc>
                  <a:txBody>
                    <a:bodyPr/>
                    <a:lstStyle/>
                    <a:p>
                      <a:pPr>
                        <a:lnSpc>
                          <a:spcPts val="1600"/>
                        </a:lnSpc>
                      </a:pPr>
                      <a:r>
                        <a:rPr lang="en-US" sz="1400" b="0" i="0">
                          <a:solidFill>
                            <a:schemeClr val="tx2"/>
                          </a:solidFill>
                          <a:latin typeface="+mj-lt"/>
                        </a:rPr>
                        <a:t>Row 2</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69821644"/>
                  </a:ext>
                </a:extLst>
              </a:tr>
              <a:tr h="1005747">
                <a:tc>
                  <a:txBody>
                    <a:bodyPr/>
                    <a:lstStyle/>
                    <a:p>
                      <a:pPr>
                        <a:lnSpc>
                          <a:spcPts val="1600"/>
                        </a:lnSpc>
                      </a:pPr>
                      <a:r>
                        <a:rPr lang="en-US" sz="1400" b="0" i="0">
                          <a:solidFill>
                            <a:schemeClr val="tx2"/>
                          </a:solidFill>
                          <a:latin typeface="+mj-lt"/>
                        </a:rPr>
                        <a:t>Row 3</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400" b="0" i="0" u="none" strike="noStrike" kern="1200" cap="none" spc="0" normalizeH="0" baseline="0" noProof="0">
                          <a:ln>
                            <a:noFill/>
                          </a:ln>
                          <a:solidFill>
                            <a:srgbClr val="2F2F2F"/>
                          </a:solidFill>
                          <a:effectLst/>
                          <a:uLnTx/>
                          <a:uFillTx/>
                          <a:latin typeface="+mn-lt"/>
                          <a:ea typeface="+mn-ea"/>
                          <a:cs typeface="+mn-cs"/>
                        </a:rPr>
                        <a:t>Table text</a:t>
                      </a:r>
                    </a:p>
                  </a:txBody>
                  <a:tcPr marL="87880" marR="87880" marT="87892" marB="43946">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93476776"/>
                  </a:ext>
                </a:extLst>
              </a:tr>
            </a:tbl>
          </a:graphicData>
        </a:graphic>
      </p:graphicFrame>
    </p:spTree>
    <p:extLst>
      <p:ext uri="{BB962C8B-B14F-4D97-AF65-F5344CB8AC3E}">
        <p14:creationId xmlns:p14="http://schemas.microsoft.com/office/powerpoint/2010/main" val="405189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7.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theme" Target="../theme/theme10.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slideLayout" Target="../slideLayouts/slideLayout209.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theme" Target="../theme/theme11.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theme" Target="../theme/theme12.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4.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6" Type="http://schemas.openxmlformats.org/officeDocument/2006/relationships/image" Target="../media/image15.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theme" Target="../theme/theme5.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image" Target="../media/image18.png"/><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theme" Target="../theme/theme6.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theme" Target="../theme/theme7.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8" Type="http://schemas.openxmlformats.org/officeDocument/2006/relationships/slideLayout" Target="../slideLayouts/slideLayout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1.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8.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image" Target="../media/image42.png"/><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image" Target="../media/image41.emf"/><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21142641"/>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36" r:id="rId10"/>
    <p:sldLayoutId id="2147483786"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5" r:id="rId35"/>
    <p:sldLayoutId id="2147483767" r:id="rId36"/>
    <p:sldLayoutId id="2147483770" r:id="rId37"/>
    <p:sldLayoutId id="2147483774" r:id="rId38"/>
    <p:sldLayoutId id="2147483775" r:id="rId39"/>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54CEDC4-5926-4D72-841D-04AD55200E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8D93E3E-B34E-4435-B718-C22BF17905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C6C10BB-9D02-486F-AC78-10A2988AAB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4B4657-EF55-4408-A1B2-D951739FE93A}" type="datetimeFigureOut">
              <a:rPr lang="en-GB" smtClean="0"/>
              <a:t>08/12/2020</a:t>
            </a:fld>
            <a:endParaRPr lang="en-GB"/>
          </a:p>
        </p:txBody>
      </p:sp>
      <p:sp>
        <p:nvSpPr>
          <p:cNvPr id="5" name="Footer Placeholder 4">
            <a:extLst>
              <a:ext uri="{FF2B5EF4-FFF2-40B4-BE49-F238E27FC236}">
                <a16:creationId xmlns:a16="http://schemas.microsoft.com/office/drawing/2014/main" id="{30615FC0-6F10-4DDD-94F7-5C1553E3D9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643C7779-B509-43B1-9FBB-84F1D11893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2D4375-053C-4BD1-B6AB-AAF87C108206}" type="slidenum">
              <a:rPr lang="en-GB" smtClean="0"/>
              <a:t>‹#›</a:t>
            </a:fld>
            <a:endParaRPr lang="en-GB"/>
          </a:p>
        </p:txBody>
      </p:sp>
    </p:spTree>
    <p:extLst>
      <p:ext uri="{BB962C8B-B14F-4D97-AF65-F5344CB8AC3E}">
        <p14:creationId xmlns:p14="http://schemas.microsoft.com/office/powerpoint/2010/main" val="221939584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D577B6C6-9BA5-441A-A196-A5365EA4BE21}"/>
              </a:ext>
            </a:extLst>
          </p:cNvPr>
          <p:cNvGrpSpPr/>
          <p:nvPr userDrawn="1"/>
        </p:nvGrpSpPr>
        <p:grpSpPr>
          <a:xfrm rot="5400000">
            <a:off x="10042168" y="2339070"/>
            <a:ext cx="5409049" cy="730911"/>
            <a:chOff x="3184538" y="0"/>
            <a:chExt cx="9389529" cy="1461567"/>
          </a:xfrm>
        </p:grpSpPr>
        <p:sp>
          <p:nvSpPr>
            <p:cNvPr id="15" name="Shape 4961">
              <a:extLst>
                <a:ext uri="{FF2B5EF4-FFF2-40B4-BE49-F238E27FC236}">
                  <a16:creationId xmlns:a16="http://schemas.microsoft.com/office/drawing/2014/main" id="{95D135AC-37A5-4A06-B3C9-193E182B0719}"/>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16" name="Shape 34744">
              <a:extLst>
                <a:ext uri="{FF2B5EF4-FFF2-40B4-BE49-F238E27FC236}">
                  <a16:creationId xmlns:a16="http://schemas.microsoft.com/office/drawing/2014/main" id="{817999BF-53B2-444A-99F4-117F1796CAA7}"/>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17" name="Shape 34745">
              <a:extLst>
                <a:ext uri="{FF2B5EF4-FFF2-40B4-BE49-F238E27FC236}">
                  <a16:creationId xmlns:a16="http://schemas.microsoft.com/office/drawing/2014/main" id="{E086CAE3-B457-4060-8697-670563A2ECA2}"/>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18" name="Shape 34746">
              <a:extLst>
                <a:ext uri="{FF2B5EF4-FFF2-40B4-BE49-F238E27FC236}">
                  <a16:creationId xmlns:a16="http://schemas.microsoft.com/office/drawing/2014/main" id="{01F8B444-6D61-450F-85CF-BE6DEA5AAFBF}"/>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19" name="Shape 34747">
              <a:extLst>
                <a:ext uri="{FF2B5EF4-FFF2-40B4-BE49-F238E27FC236}">
                  <a16:creationId xmlns:a16="http://schemas.microsoft.com/office/drawing/2014/main" id="{E2FB111C-9090-4B8B-9EB0-202D6A516F21}"/>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0" name="Shape 34748">
              <a:extLst>
                <a:ext uri="{FF2B5EF4-FFF2-40B4-BE49-F238E27FC236}">
                  <a16:creationId xmlns:a16="http://schemas.microsoft.com/office/drawing/2014/main" id="{91B50781-10EC-4E1F-B5E4-742837B1C53B}"/>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1" name="Shape 34749">
              <a:extLst>
                <a:ext uri="{FF2B5EF4-FFF2-40B4-BE49-F238E27FC236}">
                  <a16:creationId xmlns:a16="http://schemas.microsoft.com/office/drawing/2014/main" id="{CD8AD58D-282F-4F94-9FE6-43EBCAB22106}"/>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2" name="Shape 34750">
              <a:extLst>
                <a:ext uri="{FF2B5EF4-FFF2-40B4-BE49-F238E27FC236}">
                  <a16:creationId xmlns:a16="http://schemas.microsoft.com/office/drawing/2014/main" id="{1469AF9B-3707-4C95-99BC-141BEB17FC0D}"/>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23" name="Shape 34751">
              <a:extLst>
                <a:ext uri="{FF2B5EF4-FFF2-40B4-BE49-F238E27FC236}">
                  <a16:creationId xmlns:a16="http://schemas.microsoft.com/office/drawing/2014/main" id="{4AE90400-490F-44F5-8302-8F40D62FDC8E}"/>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4" name="Shape 34752">
              <a:extLst>
                <a:ext uri="{FF2B5EF4-FFF2-40B4-BE49-F238E27FC236}">
                  <a16:creationId xmlns:a16="http://schemas.microsoft.com/office/drawing/2014/main" id="{187386E8-4278-4410-BE4F-111D903393E4}"/>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5" name="Shape 34753">
              <a:extLst>
                <a:ext uri="{FF2B5EF4-FFF2-40B4-BE49-F238E27FC236}">
                  <a16:creationId xmlns:a16="http://schemas.microsoft.com/office/drawing/2014/main" id="{F94571AA-13E1-43F4-94CA-44AA2FA53D41}"/>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6" name="Shape 34754">
              <a:extLst>
                <a:ext uri="{FF2B5EF4-FFF2-40B4-BE49-F238E27FC236}">
                  <a16:creationId xmlns:a16="http://schemas.microsoft.com/office/drawing/2014/main" id="{0ECBE342-8882-44EF-9A00-D1134C80C7EA}"/>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27" name="Shape 4980">
              <a:extLst>
                <a:ext uri="{FF2B5EF4-FFF2-40B4-BE49-F238E27FC236}">
                  <a16:creationId xmlns:a16="http://schemas.microsoft.com/office/drawing/2014/main" id="{C970ED7D-1385-4A4C-A9D0-D3EED68A774F}"/>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8" name="Shape 34755">
              <a:extLst>
                <a:ext uri="{FF2B5EF4-FFF2-40B4-BE49-F238E27FC236}">
                  <a16:creationId xmlns:a16="http://schemas.microsoft.com/office/drawing/2014/main" id="{0C253C64-52F3-445E-B30C-1E024E7E144F}"/>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29" name="Shape 4982">
              <a:extLst>
                <a:ext uri="{FF2B5EF4-FFF2-40B4-BE49-F238E27FC236}">
                  <a16:creationId xmlns:a16="http://schemas.microsoft.com/office/drawing/2014/main" id="{15C3D0B7-CE60-422F-93CD-EA3506DA5C23}"/>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30" name="Table 29">
            <a:extLst>
              <a:ext uri="{FF2B5EF4-FFF2-40B4-BE49-F238E27FC236}">
                <a16:creationId xmlns:a16="http://schemas.microsoft.com/office/drawing/2014/main" id="{EC98CE5D-DD5B-411A-8495-D797E888254C}"/>
              </a:ext>
            </a:extLst>
          </p:cNvPr>
          <p:cNvGraphicFramePr>
            <a:graphicFrameLocks noGrp="1"/>
          </p:cNvGraphicFramePr>
          <p:nvPr userDrawn="1"/>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31" name="Table 30">
            <a:extLst>
              <a:ext uri="{FF2B5EF4-FFF2-40B4-BE49-F238E27FC236}">
                <a16:creationId xmlns:a16="http://schemas.microsoft.com/office/drawing/2014/main" id="{ECDE1102-7C20-46FB-B893-8097E5277781}"/>
              </a:ext>
            </a:extLst>
          </p:cNvPr>
          <p:cNvGraphicFramePr>
            <a:graphicFrameLocks noGrp="1"/>
          </p:cNvGraphicFramePr>
          <p:nvPr userDrawn="1"/>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spTree>
    <p:extLst>
      <p:ext uri="{BB962C8B-B14F-4D97-AF65-F5344CB8AC3E}">
        <p14:creationId xmlns:p14="http://schemas.microsoft.com/office/powerpoint/2010/main" val="226561497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5366" r:id="rId10"/>
    <p:sldLayoutId id="2147483906" r:id="rId11"/>
    <p:sldLayoutId id="2147483907" r:id="rId12"/>
    <p:sldLayoutId id="2147485367" r:id="rId13"/>
    <p:sldLayoutId id="2147485368" r:id="rId14"/>
    <p:sldLayoutId id="2147485369" r:id="rId15"/>
    <p:sldLayoutId id="2147485370" r:id="rId16"/>
    <p:sldLayoutId id="2147485371" r:id="rId17"/>
    <p:sldLayoutId id="2147485372" r:id="rId18"/>
    <p:sldLayoutId id="2147485373" r:id="rId19"/>
    <p:sldLayoutId id="2147485374" r:id="rId20"/>
    <p:sldLayoutId id="2147485375" r:id="rId21"/>
    <p:sldLayoutId id="2147485376" r:id="rId22"/>
    <p:sldLayoutId id="2147485377" r:id="rId23"/>
    <p:sldLayoutId id="2147485378" r:id="rId24"/>
    <p:sldLayoutId id="2147485379" r:id="rId25"/>
    <p:sldLayoutId id="2147485380" r:id="rId26"/>
    <p:sldLayoutId id="2147485381" r:id="rId27"/>
    <p:sldLayoutId id="2147485382" r:id="rId28"/>
    <p:sldLayoutId id="2147485383" r:id="rId29"/>
    <p:sldLayoutId id="2147485384" r:id="rId30"/>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9079" y="228603"/>
            <a:ext cx="11296416"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89078" y="1447802"/>
            <a:ext cx="11296417" cy="266739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8678062"/>
      </p:ext>
    </p:extLst>
  </p:cSld>
  <p:clrMap bg1="lt1" tx1="dk1" bg2="lt2" tx2="dk2" accent1="accent1" accent2="accent2" accent3="accent3" accent4="accent4" accent5="accent5" accent6="accent6" hlink="hlink" folHlink="folHlink"/>
  <p:sldLayoutIdLst>
    <p:sldLayoutId id="2147485386" r:id="rId1"/>
    <p:sldLayoutId id="2147485387" r:id="rId2"/>
    <p:sldLayoutId id="2147485388" r:id="rId3"/>
    <p:sldLayoutId id="2147485389" r:id="rId4"/>
    <p:sldLayoutId id="2147485390" r:id="rId5"/>
    <p:sldLayoutId id="2147485391" r:id="rId6"/>
    <p:sldLayoutId id="2147485392" r:id="rId7"/>
    <p:sldLayoutId id="2147485393" r:id="rId8"/>
    <p:sldLayoutId id="2147485394" r:id="rId9"/>
    <p:sldLayoutId id="2147485397" r:id="rId10"/>
    <p:sldLayoutId id="2147485398" r:id="rId11"/>
    <p:sldLayoutId id="2147485399" r:id="rId12"/>
    <p:sldLayoutId id="2147485400" r:id="rId13"/>
    <p:sldLayoutId id="2147485401" r:id="rId14"/>
    <p:sldLayoutId id="2147485402" r:id="rId15"/>
    <p:sldLayoutId id="2147485403" r:id="rId16"/>
  </p:sldLayoutIdLst>
  <p:transition spd="slow">
    <p:push/>
  </p:transition>
  <p:hf sldNum="0" hdr="0" ftr="0" dt="0"/>
  <p:txStyles>
    <p:titleStyle>
      <a:lvl1pPr algn="l" defTabSz="1219070" rtl="0" eaLnBrk="1" latinLnBrk="0" hangingPunct="1">
        <a:lnSpc>
          <a:spcPct val="90000"/>
        </a:lnSpc>
        <a:spcBef>
          <a:spcPct val="0"/>
        </a:spcBef>
        <a:buNone/>
        <a:defRPr lang="en-US" sz="4800" b="0" kern="1200" cap="none" spc="-133" baseline="0" dirty="0" smtClean="0">
          <a:ln w="3175">
            <a:noFill/>
          </a:ln>
          <a:gradFill flip="none" rotWithShape="1">
            <a:gsLst>
              <a:gs pos="0">
                <a:schemeClr val="tx1"/>
              </a:gs>
              <a:gs pos="86000">
                <a:schemeClr val="tx1"/>
              </a:gs>
            </a:gsLst>
            <a:lin ang="5400000" scaled="0"/>
            <a:tileRect/>
          </a:gradFill>
          <a:effectLst/>
          <a:latin typeface="Segoe UI" panose="020B0502040204020203" pitchFamily="34" charset="0"/>
          <a:ea typeface="+mn-ea"/>
          <a:cs typeface="Segoe UI" panose="020B0502040204020203" pitchFamily="34" charset="0"/>
        </a:defRPr>
      </a:lvl1pPr>
    </p:titleStyle>
    <p:bodyStyle>
      <a:lvl1pPr marL="613791" indent="-613791" algn="l" defTabSz="1219070" rtl="0" eaLnBrk="1" latinLnBrk="0" hangingPunct="1">
        <a:lnSpc>
          <a:spcPct val="90000"/>
        </a:lnSpc>
        <a:spcBef>
          <a:spcPct val="20000"/>
        </a:spcBef>
        <a:buClr>
          <a:schemeClr val="tx1"/>
        </a:buClr>
        <a:buSzPct val="90000"/>
        <a:buFont typeface="Wingdings" pitchFamily="2" charset="2"/>
        <a:buChar char="§"/>
        <a:defRPr sz="4267" kern="1200" spc="-95" baseline="0">
          <a:gradFill>
            <a:gsLst>
              <a:gs pos="0">
                <a:schemeClr val="tx1"/>
              </a:gs>
              <a:gs pos="86000">
                <a:schemeClr val="tx1"/>
              </a:gs>
            </a:gsLst>
            <a:lin ang="5400000" scaled="0"/>
          </a:gradFill>
          <a:latin typeface="+mn-lt"/>
          <a:ea typeface="+mn-ea"/>
          <a:cs typeface="+mn-cs"/>
        </a:defRPr>
      </a:lvl1pPr>
      <a:lvl2pPr marL="1140809" indent="-527016" algn="l" defTabSz="1219070" rtl="0" eaLnBrk="1" latinLnBrk="0" hangingPunct="1">
        <a:lnSpc>
          <a:spcPct val="90000"/>
        </a:lnSpc>
        <a:spcBef>
          <a:spcPct val="20000"/>
        </a:spcBef>
        <a:buClr>
          <a:schemeClr val="tx1"/>
        </a:buClr>
        <a:buSzPct val="90000"/>
        <a:buFont typeface="Wingdings" pitchFamily="2" charset="2"/>
        <a:buChar char="§"/>
        <a:defRPr sz="3733" kern="1200" spc="-95" baseline="0">
          <a:gradFill>
            <a:gsLst>
              <a:gs pos="0">
                <a:schemeClr val="tx1"/>
              </a:gs>
              <a:gs pos="86000">
                <a:schemeClr val="tx1"/>
              </a:gs>
            </a:gsLst>
            <a:lin ang="5400000" scaled="0"/>
          </a:gradFill>
          <a:latin typeface="+mn-lt"/>
          <a:ea typeface="+mn-ea"/>
          <a:cs typeface="+mn-cs"/>
        </a:defRPr>
      </a:lvl2pPr>
      <a:lvl3pPr marL="1678406" indent="-537597" algn="l" defTabSz="1219070" rtl="0" eaLnBrk="1" latinLnBrk="0" hangingPunct="1">
        <a:lnSpc>
          <a:spcPct val="90000"/>
        </a:lnSpc>
        <a:spcBef>
          <a:spcPct val="20000"/>
        </a:spcBef>
        <a:buClr>
          <a:schemeClr val="tx1"/>
        </a:buClr>
        <a:buSzPct val="90000"/>
        <a:buFont typeface="Wingdings" pitchFamily="2" charset="2"/>
        <a:buChar char="§"/>
        <a:defRPr sz="3200" kern="1200" spc="-95" baseline="0">
          <a:gradFill>
            <a:gsLst>
              <a:gs pos="0">
                <a:schemeClr val="tx1"/>
              </a:gs>
              <a:gs pos="86000">
                <a:schemeClr val="tx1"/>
              </a:gs>
            </a:gsLst>
            <a:lin ang="5400000" scaled="0"/>
          </a:gradFill>
          <a:latin typeface="+mn-lt"/>
          <a:ea typeface="+mn-ea"/>
          <a:cs typeface="+mn-cs"/>
        </a:defRPr>
      </a:lvl3pPr>
      <a:lvl4pPr marL="2139808" indent="-4614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4pPr>
      <a:lvl5pPr marL="2588511" indent="-4487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5pPr>
      <a:lvl6pPr marL="3352443"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77"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12"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48"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70" rtl="0" eaLnBrk="1" latinLnBrk="0" hangingPunct="1">
        <a:defRPr sz="2533" kern="1200">
          <a:solidFill>
            <a:schemeClr val="tx1"/>
          </a:solidFill>
          <a:latin typeface="+mn-lt"/>
          <a:ea typeface="+mn-ea"/>
          <a:cs typeface="+mn-cs"/>
        </a:defRPr>
      </a:lvl1pPr>
      <a:lvl2pPr marL="609535" algn="l" defTabSz="1219070" rtl="0" eaLnBrk="1" latinLnBrk="0" hangingPunct="1">
        <a:defRPr sz="2533" kern="1200">
          <a:solidFill>
            <a:schemeClr val="tx1"/>
          </a:solidFill>
          <a:latin typeface="+mn-lt"/>
          <a:ea typeface="+mn-ea"/>
          <a:cs typeface="+mn-cs"/>
        </a:defRPr>
      </a:lvl2pPr>
      <a:lvl3pPr marL="1219070" algn="l" defTabSz="1219070" rtl="0" eaLnBrk="1" latinLnBrk="0" hangingPunct="1">
        <a:defRPr sz="2533" kern="1200">
          <a:solidFill>
            <a:schemeClr val="tx1"/>
          </a:solidFill>
          <a:latin typeface="+mn-lt"/>
          <a:ea typeface="+mn-ea"/>
          <a:cs typeface="+mn-cs"/>
        </a:defRPr>
      </a:lvl3pPr>
      <a:lvl4pPr marL="1828605" algn="l" defTabSz="1219070" rtl="0" eaLnBrk="1" latinLnBrk="0" hangingPunct="1">
        <a:defRPr sz="2533" kern="1200">
          <a:solidFill>
            <a:schemeClr val="tx1"/>
          </a:solidFill>
          <a:latin typeface="+mn-lt"/>
          <a:ea typeface="+mn-ea"/>
          <a:cs typeface="+mn-cs"/>
        </a:defRPr>
      </a:lvl4pPr>
      <a:lvl5pPr marL="2438140" algn="l" defTabSz="1219070" rtl="0" eaLnBrk="1" latinLnBrk="0" hangingPunct="1">
        <a:defRPr sz="2533" kern="1200">
          <a:solidFill>
            <a:schemeClr val="tx1"/>
          </a:solidFill>
          <a:latin typeface="+mn-lt"/>
          <a:ea typeface="+mn-ea"/>
          <a:cs typeface="+mn-cs"/>
        </a:defRPr>
      </a:lvl5pPr>
      <a:lvl6pPr marL="3047674" algn="l" defTabSz="1219070" rtl="0" eaLnBrk="1" latinLnBrk="0" hangingPunct="1">
        <a:defRPr sz="2533" kern="1200">
          <a:solidFill>
            <a:schemeClr val="tx1"/>
          </a:solidFill>
          <a:latin typeface="+mn-lt"/>
          <a:ea typeface="+mn-ea"/>
          <a:cs typeface="+mn-cs"/>
        </a:defRPr>
      </a:lvl6pPr>
      <a:lvl7pPr marL="3657210" algn="l" defTabSz="1219070" rtl="0" eaLnBrk="1" latinLnBrk="0" hangingPunct="1">
        <a:defRPr sz="2533" kern="1200">
          <a:solidFill>
            <a:schemeClr val="tx1"/>
          </a:solidFill>
          <a:latin typeface="+mn-lt"/>
          <a:ea typeface="+mn-ea"/>
          <a:cs typeface="+mn-cs"/>
        </a:defRPr>
      </a:lvl7pPr>
      <a:lvl8pPr marL="4266745" algn="l" defTabSz="1219070" rtl="0" eaLnBrk="1" latinLnBrk="0" hangingPunct="1">
        <a:defRPr sz="2533" kern="1200">
          <a:solidFill>
            <a:schemeClr val="tx1"/>
          </a:solidFill>
          <a:latin typeface="+mn-lt"/>
          <a:ea typeface="+mn-ea"/>
          <a:cs typeface="+mn-cs"/>
        </a:defRPr>
      </a:lvl8pPr>
      <a:lvl9pPr marL="4876279" algn="l" defTabSz="1219070" rtl="0" eaLnBrk="1" latinLnBrk="0" hangingPunct="1">
        <a:defRPr sz="25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E303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4715404"/>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Lst>
  <p:hf sldNum="0" hdr="0" ftr="0"/>
  <p:txStyles>
    <p:titleStyle>
      <a:lvl1pPr algn="l" defTabSz="914400" rtl="0" eaLnBrk="1" latinLnBrk="0" hangingPunct="1">
        <a:lnSpc>
          <a:spcPct val="90000"/>
        </a:lnSpc>
        <a:spcBef>
          <a:spcPct val="0"/>
        </a:spcBef>
        <a:buNone/>
        <a:defRPr sz="4400" kern="1200">
          <a:solidFill>
            <a:schemeClr val="bg1"/>
          </a:solidFill>
          <a:latin typeface="Raleway" panose="020B00030301010600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Raleway" panose="020B00030301010600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Raleway" panose="020B00030301010600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Raleway" panose="020B00030301010600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Raleway" panose="020B00030301010600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F778C7-D5AA-46C2-8279-E0B3B79056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E11C0B7-4728-4B7E-89E0-345ADAACAB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34883B-5061-4613-95F6-93A11E2971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3457D8-CAF4-40D3-B2C8-3179E649C609}" type="datetimeFigureOut">
              <a:rPr lang="en-US" smtClean="0"/>
              <a:t>12/8/2020</a:t>
            </a:fld>
            <a:endParaRPr lang="en-US"/>
          </a:p>
        </p:txBody>
      </p:sp>
      <p:sp>
        <p:nvSpPr>
          <p:cNvPr id="5" name="Footer Placeholder 4">
            <a:extLst>
              <a:ext uri="{FF2B5EF4-FFF2-40B4-BE49-F238E27FC236}">
                <a16:creationId xmlns:a16="http://schemas.microsoft.com/office/drawing/2014/main" id="{9E9A3FCB-EBE2-4099-93EB-9EAE02E763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3D3D9EF-F8B5-490B-8996-64DC5572A6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DDF6A7-E2B8-4DDF-85CB-2BB7F5732B16}" type="slidenum">
              <a:rPr lang="en-US" smtClean="0"/>
              <a:t>‹#›</a:t>
            </a:fld>
            <a:endParaRPr lang="en-US"/>
          </a:p>
        </p:txBody>
      </p:sp>
    </p:spTree>
    <p:extLst>
      <p:ext uri="{BB962C8B-B14F-4D97-AF65-F5344CB8AC3E}">
        <p14:creationId xmlns:p14="http://schemas.microsoft.com/office/powerpoint/2010/main" val="121088415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20121F-7F38-4211-BC4E-16B586DF7DA3}" type="datetimeFigureOut">
              <a:rPr lang="en-GB" smtClean="0"/>
              <a:t>08/12/2020</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91F4C0-EE14-445F-BA37-3A39A55DFADC}" type="slidenum">
              <a:rPr lang="en-GB" smtClean="0"/>
              <a:t>‹#›</a:t>
            </a:fld>
            <a:endParaRPr lang="en-GB" dirty="0"/>
          </a:p>
        </p:txBody>
      </p:sp>
    </p:spTree>
    <p:extLst>
      <p:ext uri="{BB962C8B-B14F-4D97-AF65-F5344CB8AC3E}">
        <p14:creationId xmlns:p14="http://schemas.microsoft.com/office/powerpoint/2010/main" val="2576730912"/>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3" r:id="rId3"/>
    <p:sldLayoutId id="2147484264" r:id="rId4"/>
    <p:sldLayoutId id="2147484265" r:id="rId5"/>
    <p:sldLayoutId id="2147484266" r:id="rId6"/>
    <p:sldLayoutId id="2147484267" r:id="rId7"/>
    <p:sldLayoutId id="2147484268" r:id="rId8"/>
    <p:sldLayoutId id="2147484269" r:id="rId9"/>
    <p:sldLayoutId id="2147484270" r:id="rId10"/>
    <p:sldLayoutId id="21474842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6"/>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754970"/>
      </p:ext>
    </p:extLst>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59"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338462806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000" b="0" kern="1200" cap="none" spc="-49"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2"/>
              </a:gs>
              <a:gs pos="100000">
                <a:schemeClr val="tx2"/>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a:defRPr/>
            </a:pPr>
            <a:r>
              <a:rPr lang="en-US">
                <a:solidFill>
                  <a:srgbClr val="FFFFFF">
                    <a:lumMod val="65000"/>
                  </a:srgbClr>
                </a:solidFill>
              </a:rPr>
              <a:t>© Microsoft Corporation                                                                                  								                      Dynamics 365 </a:t>
            </a:r>
          </a:p>
        </p:txBody>
      </p:sp>
    </p:spTree>
    <p:extLst>
      <p:ext uri="{BB962C8B-B14F-4D97-AF65-F5344CB8AC3E}">
        <p14:creationId xmlns:p14="http://schemas.microsoft.com/office/powerpoint/2010/main" val="3124015234"/>
      </p:ext>
    </p:extLst>
  </p:cSld>
  <p:clrMap bg1="lt1" tx1="dk1" bg2="lt2" tx2="dk2" accent1="accent1" accent2="accent2" accent3="accent3" accent4="accent4" accent5="accent5" accent6="accent6" hlink="hlink" folHlink="folHlink"/>
  <p:sldLayoutIdLst>
    <p:sldLayoutId id="2147484195" r:id="rId1"/>
    <p:sldLayoutId id="2147483905" r:id="rId2"/>
    <p:sldLayoutId id="2147484196" r:id="rId3"/>
    <p:sldLayoutId id="214748419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4198" r:id="rId29"/>
    <p:sldLayoutId id="2147485328" r:id="rId30"/>
    <p:sldLayoutId id="2147483932" r:id="rId31"/>
    <p:sldLayoutId id="214748536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67" rtl="0" eaLnBrk="1" latinLnBrk="0" hangingPunct="1">
        <a:lnSpc>
          <a:spcPct val="90000"/>
        </a:lnSpc>
        <a:spcBef>
          <a:spcPct val="0"/>
        </a:spcBef>
        <a:buNone/>
        <a:defRPr lang="en-US" sz="3137"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582748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0" y="1866615"/>
            <a:ext cx="10943853" cy="11678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23556508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5329" r:id="rId26"/>
  </p:sldLayoutIdLst>
  <p:transition>
    <p:fade/>
  </p:transition>
  <p:txStyles>
    <p:titleStyle>
      <a:lvl1pPr algn="l" defTabSz="91436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slideLayout" Target="../slideLayouts/slideLayout19.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163.xml"/><Relationship Id="rId4" Type="http://schemas.openxmlformats.org/officeDocument/2006/relationships/image" Target="../media/image74.png"/></Relationships>
</file>

<file path=ppt/slides/_rels/slide12.xml.rels><?xml version="1.0" encoding="UTF-8" standalone="yes"?>
<Relationships xmlns="http://schemas.openxmlformats.org/package/2006/relationships"><Relationship Id="rId8" Type="http://schemas.openxmlformats.org/officeDocument/2006/relationships/image" Target="../media/image80.tiff"/><Relationship Id="rId13" Type="http://schemas.openxmlformats.org/officeDocument/2006/relationships/image" Target="../media/image85.png"/><Relationship Id="rId3" Type="http://schemas.openxmlformats.org/officeDocument/2006/relationships/image" Target="../media/image75.png"/><Relationship Id="rId7" Type="http://schemas.openxmlformats.org/officeDocument/2006/relationships/image" Target="../media/image79.tiff"/><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notesSlide" Target="../notesSlides/notesSlide3.xml"/><Relationship Id="rId16" Type="http://schemas.openxmlformats.org/officeDocument/2006/relationships/image" Target="../media/image88.png"/><Relationship Id="rId1" Type="http://schemas.openxmlformats.org/officeDocument/2006/relationships/slideLayout" Target="../slideLayouts/slideLayout81.xml"/><Relationship Id="rId6" Type="http://schemas.openxmlformats.org/officeDocument/2006/relationships/image" Target="../media/image78.tiff"/><Relationship Id="rId11" Type="http://schemas.openxmlformats.org/officeDocument/2006/relationships/image" Target="../media/image83.tiff"/><Relationship Id="rId5" Type="http://schemas.openxmlformats.org/officeDocument/2006/relationships/image" Target="../media/image77.tiff"/><Relationship Id="rId15" Type="http://schemas.openxmlformats.org/officeDocument/2006/relationships/image" Target="../media/image87.png"/><Relationship Id="rId10" Type="http://schemas.openxmlformats.org/officeDocument/2006/relationships/image" Target="../media/image82.tiff"/><Relationship Id="rId4" Type="http://schemas.openxmlformats.org/officeDocument/2006/relationships/image" Target="../media/image76.png"/><Relationship Id="rId9" Type="http://schemas.openxmlformats.org/officeDocument/2006/relationships/image" Target="../media/image81.tiff"/><Relationship Id="rId14" Type="http://schemas.openxmlformats.org/officeDocument/2006/relationships/image" Target="../media/image86.png"/></Relationships>
</file>

<file path=ppt/slides/_rels/slide13.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0.emf"/><Relationship Id="rId7" Type="http://schemas.openxmlformats.org/officeDocument/2006/relationships/image" Target="../media/image94.emf"/><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93.emf"/><Relationship Id="rId5" Type="http://schemas.openxmlformats.org/officeDocument/2006/relationships/image" Target="../media/image92.emf"/><Relationship Id="rId4" Type="http://schemas.openxmlformats.org/officeDocument/2006/relationships/image" Target="../media/image9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xml"/><Relationship Id="rId1" Type="http://schemas.openxmlformats.org/officeDocument/2006/relationships/tags" Target="../tags/tag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image" Target="../media/image96.jpg"/><Relationship Id="rId1" Type="http://schemas.openxmlformats.org/officeDocument/2006/relationships/slideLayout" Target="../slideLayouts/slideLayout39.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17.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7.xml"/><Relationship Id="rId1" Type="http://schemas.openxmlformats.org/officeDocument/2006/relationships/slideLayout" Target="../slideLayouts/slideLayout119.xml"/></Relationships>
</file>

<file path=ppt/slides/_rels/slide1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jpeg"/><Relationship Id="rId1" Type="http://schemas.openxmlformats.org/officeDocument/2006/relationships/slideLayout" Target="../slideLayouts/slideLayout119.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2.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jpeg"/><Relationship Id="rId1" Type="http://schemas.openxmlformats.org/officeDocument/2006/relationships/slideLayout" Target="../slideLayouts/slideLayout39.xml"/><Relationship Id="rId4" Type="http://schemas.openxmlformats.org/officeDocument/2006/relationships/image" Target="../media/image67.png"/></Relationships>
</file>

<file path=ppt/slides/_rels/slide20.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8.xml"/><Relationship Id="rId1" Type="http://schemas.openxmlformats.org/officeDocument/2006/relationships/slideLayout" Target="../slideLayouts/slideLayout203.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21.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9.xml"/><Relationship Id="rId1" Type="http://schemas.openxmlformats.org/officeDocument/2006/relationships/slideLayout" Target="../slideLayouts/slideLayout213.xml"/></Relationships>
</file>

<file path=ppt/slides/_rels/slide22.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png"/><Relationship Id="rId1" Type="http://schemas.openxmlformats.org/officeDocument/2006/relationships/slideLayout" Target="../slideLayouts/slideLayout203.xml"/></Relationships>
</file>

<file path=ppt/slides/_rels/slide23.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png"/><Relationship Id="rId1" Type="http://schemas.openxmlformats.org/officeDocument/2006/relationships/slideLayout" Target="../slideLayouts/slideLayout203.xml"/></Relationships>
</file>

<file path=ppt/slides/_rels/slide24.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6.jpeg"/><Relationship Id="rId1" Type="http://schemas.openxmlformats.org/officeDocument/2006/relationships/slideLayout" Target="../slideLayouts/slideLayout203.xml"/></Relationships>
</file>

<file path=ppt/slides/_rels/slide25.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8.png"/><Relationship Id="rId1" Type="http://schemas.openxmlformats.org/officeDocument/2006/relationships/slideLayout" Target="../slideLayouts/slideLayout203.xml"/></Relationships>
</file>

<file path=ppt/slides/_rels/slide26.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9.png"/><Relationship Id="rId1" Type="http://schemas.openxmlformats.org/officeDocument/2006/relationships/slideLayout" Target="../slideLayouts/slideLayout203.xml"/></Relationships>
</file>

<file path=ppt/slides/_rels/slide27.xml.rels><?xml version="1.0" encoding="UTF-8" standalone="yes"?>
<Relationships xmlns="http://schemas.openxmlformats.org/package/2006/relationships"><Relationship Id="rId8" Type="http://schemas.openxmlformats.org/officeDocument/2006/relationships/image" Target="../media/image134.jpeg"/><Relationship Id="rId13" Type="http://schemas.openxmlformats.org/officeDocument/2006/relationships/image" Target="../media/image137.png"/><Relationship Id="rId18" Type="http://schemas.openxmlformats.org/officeDocument/2006/relationships/image" Target="../media/image139.png"/><Relationship Id="rId26" Type="http://schemas.openxmlformats.org/officeDocument/2006/relationships/image" Target="../media/image145.png"/><Relationship Id="rId3" Type="http://schemas.openxmlformats.org/officeDocument/2006/relationships/hyperlink" Target="https://customers.microsoft.com/en-us/story/virgin-atlantic-travel-and-transportation-power-apps" TargetMode="External"/><Relationship Id="rId21" Type="http://schemas.openxmlformats.org/officeDocument/2006/relationships/image" Target="../media/image140.jpeg"/><Relationship Id="rId7" Type="http://schemas.openxmlformats.org/officeDocument/2006/relationships/image" Target="../media/image133.svg"/><Relationship Id="rId12" Type="http://schemas.openxmlformats.org/officeDocument/2006/relationships/image" Target="../media/image136.png"/><Relationship Id="rId17" Type="http://schemas.openxmlformats.org/officeDocument/2006/relationships/image" Target="../media/image138.png"/><Relationship Id="rId25" Type="http://schemas.openxmlformats.org/officeDocument/2006/relationships/image" Target="../media/image144.png"/><Relationship Id="rId2" Type="http://schemas.openxmlformats.org/officeDocument/2006/relationships/notesSlide" Target="../notesSlides/notesSlide10.xml"/><Relationship Id="rId16" Type="http://schemas.openxmlformats.org/officeDocument/2006/relationships/hyperlink" Target="https://powerapps.microsoft.com/en-us/blog/standard-bank-south-africa-creates-a-center-of-excellence-for-the-power-platform/" TargetMode="External"/><Relationship Id="rId20" Type="http://schemas.openxmlformats.org/officeDocument/2006/relationships/hyperlink" Target="https://customers.microsoft.com/en-us/story/heathrow-airport-travel-transportation-powerbi-azure" TargetMode="External"/><Relationship Id="rId29" Type="http://schemas.openxmlformats.org/officeDocument/2006/relationships/image" Target="../media/image148.png"/><Relationship Id="rId1" Type="http://schemas.openxmlformats.org/officeDocument/2006/relationships/slideLayout" Target="../slideLayouts/slideLayout86.xml"/><Relationship Id="rId6" Type="http://schemas.openxmlformats.org/officeDocument/2006/relationships/image" Target="../media/image132.png"/><Relationship Id="rId11" Type="http://schemas.openxmlformats.org/officeDocument/2006/relationships/hyperlink" Target="https://customers.microsoft.com/en-us/story/arriva-london-travel-transportation-powerapps" TargetMode="External"/><Relationship Id="rId24" Type="http://schemas.openxmlformats.org/officeDocument/2006/relationships/image" Target="../media/image143.jpeg"/><Relationship Id="rId5" Type="http://schemas.openxmlformats.org/officeDocument/2006/relationships/image" Target="../media/image131.png"/><Relationship Id="rId15" Type="http://schemas.openxmlformats.org/officeDocument/2006/relationships/hyperlink" Target="https://youtu.be/8s69Ddd2E8s" TargetMode="External"/><Relationship Id="rId23" Type="http://schemas.openxmlformats.org/officeDocument/2006/relationships/image" Target="../media/image142.png"/><Relationship Id="rId28" Type="http://schemas.openxmlformats.org/officeDocument/2006/relationships/image" Target="../media/image147.png"/><Relationship Id="rId10" Type="http://schemas.openxmlformats.org/officeDocument/2006/relationships/hyperlink" Target="https://powerapps.microsoft.com/en-us/blog/americanredcross/" TargetMode="External"/><Relationship Id="rId19" Type="http://schemas.openxmlformats.org/officeDocument/2006/relationships/hyperlink" Target="https://customers.microsoft.com/en-us/story/gj-pepsi-consumer-goods-powerapps" TargetMode="External"/><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hyperlink" Target="https://customers.microsoft.com/en-us/story/belron-autoglass-consumer-goods-powerapps" TargetMode="External"/><Relationship Id="rId22" Type="http://schemas.openxmlformats.org/officeDocument/2006/relationships/image" Target="../media/image141.png"/><Relationship Id="rId27" Type="http://schemas.openxmlformats.org/officeDocument/2006/relationships/image" Target="../media/image146.png"/></Relationships>
</file>

<file path=ppt/slides/_rels/slide28.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203.xml"/></Relationships>
</file>

<file path=ppt/slides/_rels/slide2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203.xml"/><Relationship Id="rId4" Type="http://schemas.openxmlformats.org/officeDocument/2006/relationships/image" Target="../media/image15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0.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156.png"/><Relationship Id="rId2" Type="http://schemas.openxmlformats.org/officeDocument/2006/relationships/slideLayout" Target="../slideLayouts/slideLayout27.xml"/><Relationship Id="rId1" Type="http://schemas.openxmlformats.org/officeDocument/2006/relationships/tags" Target="../tags/tag6.xml"/><Relationship Id="rId6" Type="http://schemas.openxmlformats.org/officeDocument/2006/relationships/image" Target="../media/image104.png"/><Relationship Id="rId5" Type="http://schemas.openxmlformats.org/officeDocument/2006/relationships/image" Target="../media/image155.png"/><Relationship Id="rId4" Type="http://schemas.openxmlformats.org/officeDocument/2006/relationships/image" Target="../media/image154.jpg"/></Relationships>
</file>

<file path=ppt/slides/_rels/slide31.xml.rels><?xml version="1.0" encoding="UTF-8" standalone="yes"?>
<Relationships xmlns="http://schemas.openxmlformats.org/package/2006/relationships"><Relationship Id="rId8" Type="http://schemas.openxmlformats.org/officeDocument/2006/relationships/image" Target="../media/image163.jpeg"/><Relationship Id="rId3" Type="http://schemas.openxmlformats.org/officeDocument/2006/relationships/image" Target="../media/image158.gif"/><Relationship Id="rId7" Type="http://schemas.openxmlformats.org/officeDocument/2006/relationships/image" Target="../media/image162.png"/><Relationship Id="rId12" Type="http://schemas.openxmlformats.org/officeDocument/2006/relationships/image" Target="../media/image167.jpeg"/><Relationship Id="rId2" Type="http://schemas.openxmlformats.org/officeDocument/2006/relationships/image" Target="../media/image157.jpeg"/><Relationship Id="rId1" Type="http://schemas.openxmlformats.org/officeDocument/2006/relationships/slideLayout" Target="../slideLayouts/slideLayout203.xml"/><Relationship Id="rId6" Type="http://schemas.openxmlformats.org/officeDocument/2006/relationships/image" Target="../media/image161.jpeg"/><Relationship Id="rId11" Type="http://schemas.openxmlformats.org/officeDocument/2006/relationships/image" Target="../media/image166.png"/><Relationship Id="rId5" Type="http://schemas.openxmlformats.org/officeDocument/2006/relationships/image" Target="../media/image160.png"/><Relationship Id="rId10" Type="http://schemas.openxmlformats.org/officeDocument/2006/relationships/image" Target="../media/image165.png"/><Relationship Id="rId4" Type="http://schemas.openxmlformats.org/officeDocument/2006/relationships/image" Target="../media/image159.png"/><Relationship Id="rId9" Type="http://schemas.openxmlformats.org/officeDocument/2006/relationships/image" Target="../media/image164.jpeg"/></Relationships>
</file>

<file path=ppt/slides/_rels/slide32.xml.rels><?xml version="1.0" encoding="UTF-8" standalone="yes"?>
<Relationships xmlns="http://schemas.openxmlformats.org/package/2006/relationships"><Relationship Id="rId3" Type="http://schemas.openxmlformats.org/officeDocument/2006/relationships/image" Target="../media/image168.jpg"/><Relationship Id="rId2" Type="http://schemas.openxmlformats.org/officeDocument/2006/relationships/slideLayout" Target="../slideLayouts/slideLayout41.xml"/><Relationship Id="rId1" Type="http://schemas.openxmlformats.org/officeDocument/2006/relationships/tags" Target="../tags/tag7.xml"/></Relationships>
</file>

<file path=ppt/slides/_rels/slide33.xml.rels><?xml version="1.0" encoding="UTF-8" standalone="yes"?>
<Relationships xmlns="http://schemas.openxmlformats.org/package/2006/relationships"><Relationship Id="rId2" Type="http://schemas.openxmlformats.org/officeDocument/2006/relationships/image" Target="../media/image169.jp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72.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hyperlink" Target="AKA.MS/HackAtSpeed" TargetMode="External"/><Relationship Id="rId5" Type="http://schemas.openxmlformats.org/officeDocument/2006/relationships/image" Target="../media/image171.png"/><Relationship Id="rId4" Type="http://schemas.openxmlformats.org/officeDocument/2006/relationships/image" Target="../media/image170.png"/></Relationships>
</file>

<file path=ppt/slides/_rels/slide35.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slideLayout" Target="../slideLayouts/slideLayout33.xml"/><Relationship Id="rId7" Type="http://schemas.openxmlformats.org/officeDocument/2006/relationships/image" Target="../media/image174.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72.png"/><Relationship Id="rId5" Type="http://schemas.openxmlformats.org/officeDocument/2006/relationships/image" Target="../media/image173.png"/><Relationship Id="rId4" Type="http://schemas.openxmlformats.org/officeDocument/2006/relationships/notesSlide" Target="../notesSlides/notesSlide11.xml"/><Relationship Id="rId9" Type="http://schemas.openxmlformats.org/officeDocument/2006/relationships/image" Target="../media/image176.png"/></Relationships>
</file>

<file path=ppt/slides/_rels/slide36.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slideLayout" Target="../slideLayouts/slideLayout33.xml"/><Relationship Id="rId7" Type="http://schemas.openxmlformats.org/officeDocument/2006/relationships/image" Target="../media/image180.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image" Target="../media/image177.png"/></Relationships>
</file>

<file path=ppt/slides/_rels/slide37.xml.rels><?xml version="1.0" encoding="UTF-8" standalone="yes"?>
<Relationships xmlns="http://schemas.openxmlformats.org/package/2006/relationships"><Relationship Id="rId2" Type="http://schemas.openxmlformats.org/officeDocument/2006/relationships/image" Target="../media/image181.jp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hyperlink" Target="AKA.MS/HackAtSpeed"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8.png"/><Relationship Id="rId3" Type="http://schemas.openxmlformats.org/officeDocument/2006/relationships/slideLayout" Target="../slideLayouts/slideLayout27.xml"/><Relationship Id="rId7" Type="http://schemas.openxmlformats.org/officeDocument/2006/relationships/image" Target="../media/image172.png"/><Relationship Id="rId12" Type="http://schemas.openxmlformats.org/officeDocument/2006/relationships/image" Target="../media/image187.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hyperlink" Target="https://chrishuntingford01-my.sharepoint.com/personal/chris_chrishuntingford01_onmicrosoft_com/_layouts/15/onedrive.aspx?originalPath=aHR0cHM6Ly9jaHJpc2h1bnRpbmdmb3JkMDEtbXkuc2hhcmVwb2ludC5jb20vOmY6L2cvcGVyc29uYWwvY2hyaXNfY2hyaXNodW50aW5nZm9yZDAxX29ubWljcm9zb2Z0X2NvbS9Fbl9Ld0ttZ0o5SkZ2WjJyUE5WOW1Yb0JZUjM0Q3h6NURQN2hmejBfYnRlMi13P3J0aW1lPWVlV19DLVdWMTBn&amp;id=%2Fpersonal%2Fchris%5Fchrishuntingford01%5Fonmicrosoft%5Fcom%2FDocuments%2FHack%40Speed%2FHackPacks%2FSales%20Leads" TargetMode="External"/><Relationship Id="rId11" Type="http://schemas.openxmlformats.org/officeDocument/2006/relationships/image" Target="../media/image186.png"/><Relationship Id="rId5" Type="http://schemas.openxmlformats.org/officeDocument/2006/relationships/hyperlink" Target="https://chrishuntingford01-my.sharepoint.com/personal/chris_chrishuntingford01_onmicrosoft_com/_layouts/15/onedrive.aspx?originalPath=aHR0cHM6Ly9jaHJpc2h1bnRpbmdmb3JkMDEtbXkuc2hhcmVwb2ludC5jb20vOmY6L2cvcGVyc29uYWwvY2hyaXNfY2hyaXNodW50aW5nZm9yZDAxX29ubWljcm9zb2Z0X2NvbS9Fbl9Ld0ttZ0o5SkZ2WjJyUE5WOW1Yb0JZUjM0Q3h6NURQN2hmejBfYnRlMi13P3J0aW1lPWVlV19DLVdWMTBn&amp;id=%2Fpersonal%2Fchris%5Fchrishuntingford01%5Fonmicrosoft%5Fcom%2FDocuments%2FHack%40Speed%2FHackPacks%2FUFO%20Sightings" TargetMode="External"/><Relationship Id="rId15" Type="http://schemas.openxmlformats.org/officeDocument/2006/relationships/image" Target="../media/image190.png"/><Relationship Id="rId10" Type="http://schemas.openxmlformats.org/officeDocument/2006/relationships/image" Target="../media/image185.png"/><Relationship Id="rId4" Type="http://schemas.openxmlformats.org/officeDocument/2006/relationships/image" Target="../media/image182.jpg"/><Relationship Id="rId9" Type="http://schemas.openxmlformats.org/officeDocument/2006/relationships/image" Target="../media/image184.png"/><Relationship Id="rId14" Type="http://schemas.openxmlformats.org/officeDocument/2006/relationships/image" Target="../media/image189.png"/></Relationships>
</file>

<file path=ppt/slides/_rels/slide41.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slideLayout" Target="../slideLayouts/slideLayout41.xml"/><Relationship Id="rId1" Type="http://schemas.openxmlformats.org/officeDocument/2006/relationships/tags" Target="../tags/tag8.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7.xml"/><Relationship Id="rId1" Type="http://schemas.openxmlformats.org/officeDocument/2006/relationships/tags" Target="../tags/tag9.xml"/><Relationship Id="rId6" Type="http://schemas.openxmlformats.org/officeDocument/2006/relationships/image" Target="../media/image104.png"/><Relationship Id="rId5" Type="http://schemas.openxmlformats.org/officeDocument/2006/relationships/image" Target="../media/image154.jpg"/><Relationship Id="rId4" Type="http://schemas.openxmlformats.org/officeDocument/2006/relationships/image" Target="../media/image15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3" Type="http://schemas.openxmlformats.org/officeDocument/2006/relationships/image" Target="../media/image168.jpg"/><Relationship Id="rId2" Type="http://schemas.openxmlformats.org/officeDocument/2006/relationships/slideLayout" Target="../slideLayouts/slideLayout41.xml"/><Relationship Id="rId1" Type="http://schemas.openxmlformats.org/officeDocument/2006/relationships/tags" Target="../tags/tag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7.xml"/><Relationship Id="rId1" Type="http://schemas.openxmlformats.org/officeDocument/2006/relationships/tags" Target="../tags/tag11.xml"/><Relationship Id="rId6" Type="http://schemas.openxmlformats.org/officeDocument/2006/relationships/image" Target="../media/image104.png"/><Relationship Id="rId5" Type="http://schemas.openxmlformats.org/officeDocument/2006/relationships/image" Target="../media/image154.jpg"/><Relationship Id="rId4" Type="http://schemas.openxmlformats.org/officeDocument/2006/relationships/image" Target="../media/image153.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7.xml"/><Relationship Id="rId1" Type="http://schemas.openxmlformats.org/officeDocument/2006/relationships/tags" Target="../tags/tag12.xml"/><Relationship Id="rId6" Type="http://schemas.openxmlformats.org/officeDocument/2006/relationships/image" Target="../media/image104.png"/><Relationship Id="rId5" Type="http://schemas.openxmlformats.org/officeDocument/2006/relationships/image" Target="../media/image154.jpg"/><Relationship Id="rId4" Type="http://schemas.openxmlformats.org/officeDocument/2006/relationships/image" Target="../media/image15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slideLayout" Target="../slideLayouts/slideLayout19.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xml"/><Relationship Id="rId1" Type="http://schemas.openxmlformats.org/officeDocument/2006/relationships/slideLayout" Target="../slideLayouts/slideLayout56.xml"/><Relationship Id="rId5" Type="http://schemas.openxmlformats.org/officeDocument/2006/relationships/image" Target="../media/image71.jpeg"/><Relationship Id="rId4" Type="http://schemas.openxmlformats.org/officeDocument/2006/relationships/image" Target="../media/image70.png"/></Relationships>
</file>

<file path=ppt/slides/_rels/slide9.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DECAB-88A7-4B5D-A8F2-FB74C7C839D5}"/>
              </a:ext>
            </a:extLst>
          </p:cNvPr>
          <p:cNvSpPr>
            <a:spLocks noGrp="1"/>
          </p:cNvSpPr>
          <p:nvPr>
            <p:ph type="title"/>
          </p:nvPr>
        </p:nvSpPr>
        <p:spPr>
          <a:xfrm>
            <a:off x="584026" y="2875002"/>
            <a:ext cx="4161981" cy="1107996"/>
          </a:xfrm>
          <a:prstGeom prst="rect">
            <a:avLst/>
          </a:prstGeom>
        </p:spPr>
        <p:txBody>
          <a:bodyPr wrap="square" anchor="ctr">
            <a:normAutofit/>
          </a:bodyPr>
          <a:lstStyle/>
          <a:p>
            <a:pPr>
              <a:lnSpc>
                <a:spcPct val="90000"/>
              </a:lnSpc>
            </a:pPr>
            <a:r>
              <a:rPr lang="en-GB" sz="2000" dirty="0"/>
              <a:t>Providing Immediate Business Value with the Power Platform – </a:t>
            </a:r>
            <a:br>
              <a:rPr lang="en-GB" sz="2000" dirty="0"/>
            </a:br>
            <a:br>
              <a:rPr lang="en-GB" sz="2000" dirty="0"/>
            </a:br>
            <a:r>
              <a:rPr lang="en-GB" sz="2000" dirty="0"/>
              <a:t>Power Platform – </a:t>
            </a:r>
            <a:r>
              <a:rPr lang="en-GB" sz="2000" dirty="0" err="1"/>
              <a:t>Hack@Speed</a:t>
            </a:r>
            <a:endParaRPr lang="en-GB" sz="2000" dirty="0"/>
          </a:p>
        </p:txBody>
      </p:sp>
      <p:pic>
        <p:nvPicPr>
          <p:cNvPr id="10" name="Picture Placeholder 9">
            <a:extLst>
              <a:ext uri="{FF2B5EF4-FFF2-40B4-BE49-F238E27FC236}">
                <a16:creationId xmlns:a16="http://schemas.microsoft.com/office/drawing/2014/main" id="{31BFA853-E9D5-4670-8638-7D3A81D8378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14367" r="19133"/>
          <a:stretch/>
        </p:blipFill>
        <p:spPr>
          <a:xfrm>
            <a:off x="5334001" y="10"/>
            <a:ext cx="6858000" cy="6857990"/>
          </a:xfrm>
          <a:prstGeom prst="rect">
            <a:avLst/>
          </a:prstGeom>
          <a:noFill/>
        </p:spPr>
      </p:pic>
      <p:sp>
        <p:nvSpPr>
          <p:cNvPr id="5" name="TextBox 4">
            <a:extLst>
              <a:ext uri="{FF2B5EF4-FFF2-40B4-BE49-F238E27FC236}">
                <a16:creationId xmlns:a16="http://schemas.microsoft.com/office/drawing/2014/main" id="{AC77390D-8A86-4890-8231-F1BA47DEA9BE}"/>
              </a:ext>
            </a:extLst>
          </p:cNvPr>
          <p:cNvSpPr txBox="1"/>
          <p:nvPr/>
        </p:nvSpPr>
        <p:spPr>
          <a:xfrm>
            <a:off x="395369" y="4240278"/>
            <a:ext cx="4348755" cy="1477328"/>
          </a:xfrm>
          <a:prstGeom prst="rect">
            <a:avLst/>
          </a:prstGeom>
          <a:noFill/>
        </p:spPr>
        <p:txBody>
          <a:bodyPr wrap="none" lIns="0" tIns="0" rIns="0" bIns="0" rtlCol="0">
            <a:spAutoFit/>
          </a:bodyPr>
          <a:lstStyle/>
          <a:p>
            <a:r>
              <a:rPr lang="en-GB" sz="3200" b="1" dirty="0">
                <a:gradFill>
                  <a:gsLst>
                    <a:gs pos="2917">
                      <a:schemeClr val="tx1"/>
                    </a:gs>
                    <a:gs pos="30000">
                      <a:schemeClr val="tx1"/>
                    </a:gs>
                  </a:gsLst>
                  <a:lin ang="5400000" scaled="0"/>
                </a:gradFill>
              </a:rPr>
              <a:t>AKA.MS/HackAtSpeed</a:t>
            </a:r>
          </a:p>
          <a:p>
            <a:endParaRPr lang="en-GB" sz="3200" b="1" dirty="0">
              <a:gradFill>
                <a:gsLst>
                  <a:gs pos="2917">
                    <a:schemeClr val="tx1"/>
                  </a:gs>
                  <a:gs pos="30000">
                    <a:schemeClr val="tx1"/>
                  </a:gs>
                </a:gsLst>
                <a:lin ang="5400000" scaled="0"/>
              </a:gradFill>
            </a:endParaRPr>
          </a:p>
          <a:p>
            <a:r>
              <a:rPr lang="en-GB" sz="3200" b="1" dirty="0">
                <a:gradFill>
                  <a:gsLst>
                    <a:gs pos="2917">
                      <a:schemeClr val="tx1"/>
                    </a:gs>
                    <a:gs pos="30000">
                      <a:schemeClr val="tx1"/>
                    </a:gs>
                  </a:gsLst>
                  <a:lin ang="5400000" scaled="0"/>
                </a:gradFill>
              </a:rPr>
              <a:t>#</a:t>
            </a:r>
            <a:r>
              <a:rPr lang="en-GB" sz="3200" b="1" dirty="0" err="1">
                <a:gradFill>
                  <a:gsLst>
                    <a:gs pos="2917">
                      <a:schemeClr val="tx1"/>
                    </a:gs>
                    <a:gs pos="30000">
                      <a:schemeClr val="tx1"/>
                    </a:gs>
                  </a:gsLst>
                  <a:lin ang="5400000" scaled="0"/>
                </a:gradFill>
              </a:rPr>
              <a:t>MSHackAtSpeed</a:t>
            </a:r>
            <a:endParaRPr lang="en-GB" sz="3200" b="1" dirty="0">
              <a:gradFill>
                <a:gsLst>
                  <a:gs pos="2917">
                    <a:schemeClr val="tx1"/>
                  </a:gs>
                  <a:gs pos="30000">
                    <a:schemeClr val="tx1"/>
                  </a:gs>
                </a:gsLst>
                <a:lin ang="5400000" scaled="0"/>
              </a:gradFill>
            </a:endParaRPr>
          </a:p>
        </p:txBody>
      </p:sp>
    </p:spTree>
    <p:custDataLst>
      <p:tags r:id="rId1"/>
    </p:custDataLst>
    <p:extLst>
      <p:ext uri="{BB962C8B-B14F-4D97-AF65-F5344CB8AC3E}">
        <p14:creationId xmlns:p14="http://schemas.microsoft.com/office/powerpoint/2010/main" val="148744024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E700CB-CC03-47EE-9B81-EA2F6CA67A44}"/>
              </a:ext>
            </a:extLst>
          </p:cNvPr>
          <p:cNvSpPr>
            <a:spLocks noGrp="1"/>
          </p:cNvSpPr>
          <p:nvPr>
            <p:ph type="title"/>
          </p:nvPr>
        </p:nvSpPr>
        <p:spPr>
          <a:xfrm>
            <a:off x="578738" y="1081291"/>
            <a:ext cx="4167887" cy="553998"/>
          </a:xfrm>
        </p:spPr>
        <p:txBody>
          <a:bodyPr/>
          <a:lstStyle/>
          <a:p>
            <a:r>
              <a:rPr lang="en-GB" dirty="0"/>
              <a:t>The Goal</a:t>
            </a:r>
          </a:p>
        </p:txBody>
      </p:sp>
      <p:sp>
        <p:nvSpPr>
          <p:cNvPr id="6" name="Text Placeholder 5">
            <a:extLst>
              <a:ext uri="{FF2B5EF4-FFF2-40B4-BE49-F238E27FC236}">
                <a16:creationId xmlns:a16="http://schemas.microsoft.com/office/drawing/2014/main" id="{458ABC6C-7AD0-459A-8EF7-9A3392E2363E}"/>
              </a:ext>
            </a:extLst>
          </p:cNvPr>
          <p:cNvSpPr>
            <a:spLocks noGrp="1"/>
          </p:cNvSpPr>
          <p:nvPr>
            <p:ph type="body" sz="quarter" idx="12"/>
          </p:nvPr>
        </p:nvSpPr>
        <p:spPr>
          <a:xfrm>
            <a:off x="582042" y="2125027"/>
            <a:ext cx="4164583" cy="3077766"/>
          </a:xfrm>
        </p:spPr>
        <p:txBody>
          <a:bodyPr/>
          <a:lstStyle/>
          <a:p>
            <a:r>
              <a:rPr lang="en-GB" dirty="0"/>
              <a:t>Our goal during this event is to drive enthusiasm &amp; creativity through a combination of technology and problem solving skills.</a:t>
            </a:r>
          </a:p>
          <a:p>
            <a:endParaRPr lang="en-GB" dirty="0"/>
          </a:p>
          <a:p>
            <a:r>
              <a:rPr lang="en-GB" dirty="0"/>
              <a:t>Technology can be learnt by anyone, no matter who you are and with </a:t>
            </a:r>
            <a:r>
              <a:rPr lang="en-GB" dirty="0" err="1"/>
              <a:t>Hack@Speed</a:t>
            </a:r>
            <a:r>
              <a:rPr lang="en-GB" dirty="0"/>
              <a:t>, we wanted to give everyone an opportunity to have fun and get involved.</a:t>
            </a:r>
          </a:p>
        </p:txBody>
      </p:sp>
    </p:spTree>
    <p:extLst>
      <p:ext uri="{BB962C8B-B14F-4D97-AF65-F5344CB8AC3E}">
        <p14:creationId xmlns:p14="http://schemas.microsoft.com/office/powerpoint/2010/main" val="98118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0">
            <a:extLst>
              <a:ext uri="{FF2B5EF4-FFF2-40B4-BE49-F238E27FC236}">
                <a16:creationId xmlns:a16="http://schemas.microsoft.com/office/drawing/2014/main" id="{5CE7C33C-3A45-420D-9F3D-CBA26C1B932F}"/>
              </a:ext>
            </a:extLst>
          </p:cNvPr>
          <p:cNvSpPr txBox="1">
            <a:spLocks/>
          </p:cNvSpPr>
          <p:nvPr/>
        </p:nvSpPr>
        <p:spPr>
          <a:xfrm>
            <a:off x="286451" y="307797"/>
            <a:ext cx="11568999" cy="553998"/>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312"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50" normalizeH="0" baseline="0" noProof="0" dirty="0">
                <a:ln w="3175">
                  <a:noFill/>
                </a:ln>
                <a:solidFill>
                  <a:srgbClr val="000000"/>
                </a:solidFill>
                <a:effectLst/>
                <a:uLnTx/>
                <a:uFillTx/>
                <a:latin typeface="Segoe UI Light"/>
                <a:ea typeface="+mn-ea"/>
                <a:cs typeface="Segoe UI" pitchFamily="34" charset="0"/>
              </a:rPr>
              <a:t>Things to know </a:t>
            </a:r>
            <a:endParaRPr kumimoji="0" lang="en-GB" sz="3200" b="1" i="0" u="none" strike="noStrike" kern="1200" cap="none" spc="-50" normalizeH="0" baseline="0" noProof="0" dirty="0">
              <a:ln w="3175">
                <a:noFill/>
              </a:ln>
              <a:solidFill>
                <a:srgbClr val="000000"/>
              </a:solidFill>
              <a:effectLst/>
              <a:uLnTx/>
              <a:uFillTx/>
              <a:latin typeface="Segoe UI Light"/>
              <a:ea typeface="+mn-ea"/>
              <a:cs typeface="Segoe UI" pitchFamily="34" charset="0"/>
            </a:endParaRPr>
          </a:p>
        </p:txBody>
      </p:sp>
      <p:sp>
        <p:nvSpPr>
          <p:cNvPr id="35" name="TextBox 34">
            <a:extLst>
              <a:ext uri="{FF2B5EF4-FFF2-40B4-BE49-F238E27FC236}">
                <a16:creationId xmlns:a16="http://schemas.microsoft.com/office/drawing/2014/main" id="{93EF0DE6-7C63-4022-9710-731DE408A6C1}"/>
              </a:ext>
            </a:extLst>
          </p:cNvPr>
          <p:cNvSpPr txBox="1"/>
          <p:nvPr/>
        </p:nvSpPr>
        <p:spPr>
          <a:xfrm>
            <a:off x="286451" y="1491449"/>
            <a:ext cx="7180018" cy="437350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82828"/>
                </a:solidFill>
                <a:effectLst/>
                <a:uLnTx/>
                <a:uFillTx/>
                <a:latin typeface="Segoe UI Semibold" panose="020B0502040204020203" pitchFamily="34" charset="0"/>
                <a:cs typeface="Segoe UI Semibold" panose="020B0502040204020203" pitchFamily="34" charset="0"/>
              </a:rPr>
              <a:t>Leading</a:t>
            </a:r>
            <a:r>
              <a:rPr kumimoji="0" lang="en-GB" sz="1400" b="1" i="0" u="none" strike="noStrike" kern="1200" cap="none" spc="0" normalizeH="0" noProof="0" dirty="0">
                <a:ln>
                  <a:noFill/>
                </a:ln>
                <a:solidFill>
                  <a:srgbClr val="282828"/>
                </a:solidFill>
                <a:effectLst/>
                <a:uLnTx/>
                <a:uFillTx/>
                <a:latin typeface="Segoe UI Semibold" panose="020B0502040204020203" pitchFamily="34" charset="0"/>
                <a:cs typeface="Segoe UI Semibold" panose="020B0502040204020203" pitchFamily="34" charset="0"/>
              </a:rPr>
              <a:t> </a:t>
            </a:r>
            <a:r>
              <a:rPr lang="en-GB" sz="1400" b="1" dirty="0">
                <a:solidFill>
                  <a:srgbClr val="282828"/>
                </a:solidFill>
                <a:latin typeface="Segoe UI Semibold" panose="020B0502040204020203" pitchFamily="34" charset="0"/>
                <a:cs typeface="Segoe UI Semibold" panose="020B0502040204020203" pitchFamily="34" charset="0"/>
              </a:rPr>
              <a:t>the low code application platform market </a:t>
            </a:r>
            <a:endParaRPr kumimoji="0" lang="en-GB" sz="1400" b="1" i="0" u="none" strike="noStrike" kern="1200" cap="none" spc="0" normalizeH="0" baseline="0" noProof="0" dirty="0">
              <a:ln>
                <a:noFill/>
              </a:ln>
              <a:solidFill>
                <a:srgbClr val="282828"/>
              </a:solidFill>
              <a:effectLst/>
              <a:uLnTx/>
              <a:uFillTx/>
              <a:latin typeface="Segoe UI Semibold" panose="020B0502040204020203" pitchFamily="34" charset="0"/>
              <a:cs typeface="Segoe UI Semibold" panose="020B0502040204020203" pitchFamily="34" charset="0"/>
            </a:endParaRPr>
          </a:p>
          <a:p>
            <a:pPr>
              <a:defRPr/>
            </a:pPr>
            <a:r>
              <a:rPr lang="en-US" sz="1400" dirty="0">
                <a:solidFill>
                  <a:srgbClr val="282828"/>
                </a:solidFill>
                <a:latin typeface="Segoe UI Light" panose="020B0502040204020203" pitchFamily="34" charset="0"/>
                <a:cs typeface="Segoe UI Light" panose="020B0502040204020203" pitchFamily="34" charset="0"/>
              </a:rPr>
              <a:t>Recognised by analysts as a leader in low-code application development platforms</a:t>
            </a:r>
          </a:p>
          <a:p>
            <a:pPr>
              <a:defRPr/>
            </a:pPr>
            <a:r>
              <a:rPr lang="en-US" sz="1400" dirty="0">
                <a:solidFill>
                  <a:srgbClr val="282828"/>
                </a:solidFill>
                <a:latin typeface="Segoe UI Light" panose="020B0502040204020203" pitchFamily="34" charset="0"/>
                <a:cs typeface="Segoe UI Light" panose="020B0502040204020203" pitchFamily="34" charset="0"/>
              </a:rPr>
              <a:t>Power Platform is now being used by more than 3.4 million citizen developers</a:t>
            </a:r>
          </a:p>
          <a:p>
            <a:pPr>
              <a:defRPr/>
            </a:pPr>
            <a:endParaRPr lang="en-US" sz="1400" dirty="0">
              <a:solidFill>
                <a:srgbClr val="282828"/>
              </a:solidFill>
              <a:latin typeface="Segoe UI Light" panose="020B0502040204020203" pitchFamily="34" charset="0"/>
              <a:cs typeface="Segoe UI Light" panose="020B0502040204020203" pitchFamily="34" charset="0"/>
            </a:endParaRPr>
          </a:p>
          <a:p>
            <a:pPr lvl="0">
              <a:defRPr/>
            </a:pPr>
            <a:r>
              <a:rPr lang="en-GB" sz="1400" b="1" dirty="0">
                <a:solidFill>
                  <a:srgbClr val="282828"/>
                </a:solidFill>
                <a:latin typeface="Segoe UI Semibold" panose="020B0502040204020203" pitchFamily="34" charset="0"/>
                <a:cs typeface="Segoe UI Semibold" panose="020B0502040204020203" pitchFamily="34" charset="0"/>
              </a:rPr>
              <a:t>Market trends </a:t>
            </a:r>
          </a:p>
          <a:p>
            <a:pPr lvl="0">
              <a:defRPr/>
            </a:pPr>
            <a:r>
              <a:rPr lang="en-GB" sz="1400" dirty="0">
                <a:solidFill>
                  <a:srgbClr val="282828"/>
                </a:solidFill>
                <a:latin typeface="Segoe UI Light" panose="020B0502040204020203" pitchFamily="34" charset="0"/>
                <a:cs typeface="Segoe UI Light" panose="020B0502040204020203" pitchFamily="34" charset="0"/>
              </a:rPr>
              <a:t>500 million new apps will be built in the next 5 years, more than all apps built in the last 40</a:t>
            </a:r>
            <a:r>
              <a:rPr lang="en-GB" sz="700" dirty="0">
                <a:solidFill>
                  <a:srgbClr val="282828"/>
                </a:solidFill>
                <a:latin typeface="Segoe UI Light" panose="020B0502040204020203" pitchFamily="34" charset="0"/>
                <a:cs typeface="Segoe UI Light" panose="020B0502040204020203" pitchFamily="34" charset="0"/>
              </a:rPr>
              <a:t>1</a:t>
            </a:r>
          </a:p>
          <a:p>
            <a:pPr>
              <a:defRPr/>
            </a:pPr>
            <a:r>
              <a:rPr lang="en-GB" sz="1400" dirty="0">
                <a:solidFill>
                  <a:srgbClr val="282828"/>
                </a:solidFill>
                <a:latin typeface="Segoe UI Light" panose="020B0502040204020203" pitchFamily="34" charset="0"/>
                <a:cs typeface="Segoe UI Light" panose="020B0502040204020203" pitchFamily="34" charset="0"/>
              </a:rPr>
              <a:t>65% of enterprise application development will be in the low-code category by 2024</a:t>
            </a:r>
            <a:r>
              <a:rPr lang="en-GB" sz="700" dirty="0">
                <a:solidFill>
                  <a:srgbClr val="282828"/>
                </a:solidFill>
                <a:latin typeface="Segoe UI Light" panose="020B0502040204020203" pitchFamily="34" charset="0"/>
                <a:cs typeface="Segoe UI Light" panose="020B0502040204020203" pitchFamily="34" charset="0"/>
              </a:rPr>
              <a:t>2</a:t>
            </a:r>
          </a:p>
          <a:p>
            <a:pPr lvl="0">
              <a:defRPr/>
            </a:pPr>
            <a:r>
              <a:rPr lang="en-GB" sz="1400" dirty="0">
                <a:solidFill>
                  <a:srgbClr val="282828"/>
                </a:solidFill>
                <a:latin typeface="Segoe UI Light" panose="020B0502040204020203" pitchFamily="34" charset="0"/>
                <a:cs typeface="Segoe UI Light" panose="020B0502040204020203" pitchFamily="34" charset="0"/>
              </a:rPr>
              <a:t>Estimated low-code development platform market to exceed $52B By 2024</a:t>
            </a:r>
            <a:r>
              <a:rPr lang="en-GB" sz="700" dirty="0">
                <a:solidFill>
                  <a:srgbClr val="282828"/>
                </a:solidFill>
                <a:latin typeface="Segoe UI Light" panose="020B0502040204020203" pitchFamily="34" charset="0"/>
                <a:cs typeface="Segoe UI Light" panose="020B0502040204020203" pitchFamily="34" charset="0"/>
              </a:rPr>
              <a:t>3</a:t>
            </a:r>
          </a:p>
          <a:p>
            <a:pPr>
              <a:defRPr/>
            </a:pPr>
            <a:endParaRPr lang="en-GB" sz="500" dirty="0">
              <a:solidFill>
                <a:srgbClr val="282828"/>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282828"/>
              </a:solidFill>
              <a:effectLst/>
              <a:uLnTx/>
              <a:uFillTx/>
              <a:latin typeface="Segoe UI Semibold" panose="020B0502040204020203" pitchFamily="34" charset="0"/>
              <a:cs typeface="Segoe UI Semibold"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82828"/>
                </a:solidFill>
                <a:effectLst/>
                <a:uLnTx/>
                <a:uFillTx/>
                <a:latin typeface="Segoe UI Semibold" panose="020B0502040204020203" pitchFamily="34" charset="0"/>
                <a:cs typeface="Segoe UI Semibold" panose="020B0502040204020203" pitchFamily="34" charset="0"/>
              </a:rPr>
              <a:t>Licensing</a:t>
            </a:r>
          </a:p>
          <a:p>
            <a:pPr marR="0" lvl="0" algn="l" defTabSz="914400"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rPr>
              <a:t>O365 and Dynamics have seeded Power Apps &amp; Automate licenses </a:t>
            </a:r>
          </a:p>
          <a:p>
            <a:pPr marR="0" lvl="0" algn="l" defTabSz="914400"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rPr>
              <a:t>Stand</a:t>
            </a:r>
            <a:r>
              <a:rPr kumimoji="0" lang="en-GB" sz="1400" b="0" i="0" u="none" strike="noStrike" kern="1200" cap="none" spc="0" normalizeH="0" noProof="0" dirty="0">
                <a:ln>
                  <a:noFill/>
                </a:ln>
                <a:solidFill>
                  <a:srgbClr val="282828"/>
                </a:solidFill>
                <a:effectLst/>
                <a:uLnTx/>
                <a:uFillTx/>
                <a:latin typeface="Segoe UI Light" panose="020B0502040204020203" pitchFamily="34" charset="0"/>
                <a:cs typeface="Segoe UI Light" panose="020B0502040204020203" pitchFamily="34" charset="0"/>
              </a:rPr>
              <a:t> alone SKUs for Power Apps, Power Automate inc. UI Flows (RPA), Power BI and Power Virtual Agents</a:t>
            </a:r>
          </a:p>
          <a:p>
            <a:pPr marR="0" lvl="0" algn="l" defTabSz="914400"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lvl="0">
              <a:defRPr/>
            </a:pPr>
            <a:r>
              <a:rPr lang="en-GB" sz="1400" b="1" dirty="0">
                <a:solidFill>
                  <a:srgbClr val="282828"/>
                </a:solidFill>
                <a:latin typeface="Segoe UI Semibold" panose="020B0502040204020203" pitchFamily="34" charset="0"/>
                <a:cs typeface="Segoe UI Semibold" panose="020B0502040204020203" pitchFamily="34" charset="0"/>
              </a:rPr>
              <a:t>Competitors</a:t>
            </a:r>
          </a:p>
          <a:p>
            <a:pPr lvl="0">
              <a:defRPr/>
            </a:pPr>
            <a:r>
              <a:rPr lang="en-GB" sz="1400" dirty="0">
                <a:solidFill>
                  <a:srgbClr val="282828"/>
                </a:solidFill>
                <a:latin typeface="Segoe UI Light" panose="020B0502040204020203" pitchFamily="34" charset="0"/>
                <a:cs typeface="Segoe UI Light" panose="020B0502040204020203" pitchFamily="34" charset="0"/>
              </a:rPr>
              <a:t>SFDC, Mendix, Outsystems, Appian, Automation Anywhere, UI Path, Tableau, AWS for Everyone (future)</a:t>
            </a:r>
          </a:p>
          <a:p>
            <a:pPr marR="0" lvl="0" algn="l" defTabSz="914400" rtl="0" eaLnBrk="1" fontAlgn="auto" latinLnBrk="0" hangingPunct="1">
              <a:lnSpc>
                <a:spcPct val="100000"/>
              </a:lnSpc>
              <a:spcBef>
                <a:spcPts val="0"/>
              </a:spcBef>
              <a:spcAft>
                <a:spcPts val="0"/>
              </a:spcAft>
              <a:buClrTx/>
              <a:buSzTx/>
              <a:tabLst/>
              <a:defRPr/>
            </a:pPr>
            <a:endParaRPr kumimoji="0" lang="en-GB" sz="1100" b="0" i="0" u="none" strike="noStrike" kern="1200" cap="none" spc="0" normalizeH="0" baseline="0" noProof="0" dirty="0">
              <a:ln>
                <a:noFill/>
              </a:ln>
              <a:solidFill>
                <a:srgbClr val="282828"/>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282828"/>
              </a:solidFill>
              <a:effectLst/>
              <a:uLnTx/>
              <a:uFillTx/>
              <a:latin typeface="Segoe UI Light" panose="020B0502040204020203" pitchFamily="34" charset="0"/>
              <a:ea typeface="+mn-ea"/>
              <a:cs typeface="Segoe UI Light" panose="020B0502040204020203" pitchFamily="34" charset="0"/>
            </a:endParaRPr>
          </a:p>
        </p:txBody>
      </p:sp>
      <p:pic>
        <p:nvPicPr>
          <p:cNvPr id="4" name="Picture 3">
            <a:extLst>
              <a:ext uri="{FF2B5EF4-FFF2-40B4-BE49-F238E27FC236}">
                <a16:creationId xmlns:a16="http://schemas.microsoft.com/office/drawing/2014/main" id="{B0DF3B89-7836-4C6E-9C28-D0B5C99F8819}"/>
              </a:ext>
            </a:extLst>
          </p:cNvPr>
          <p:cNvPicPr>
            <a:picLocks noChangeAspect="1"/>
          </p:cNvPicPr>
          <p:nvPr/>
        </p:nvPicPr>
        <p:blipFill>
          <a:blip r:embed="rId3"/>
          <a:stretch>
            <a:fillRect/>
          </a:stretch>
        </p:blipFill>
        <p:spPr>
          <a:xfrm>
            <a:off x="10046098" y="328827"/>
            <a:ext cx="1933866" cy="207886"/>
          </a:xfrm>
          <a:prstGeom prst="rect">
            <a:avLst/>
          </a:prstGeom>
        </p:spPr>
      </p:pic>
      <p:pic>
        <p:nvPicPr>
          <p:cNvPr id="7" name="Picture 6">
            <a:extLst>
              <a:ext uri="{FF2B5EF4-FFF2-40B4-BE49-F238E27FC236}">
                <a16:creationId xmlns:a16="http://schemas.microsoft.com/office/drawing/2014/main" id="{E0CF48F2-5CD4-4E0C-A0D6-855C3B13AA55}"/>
              </a:ext>
            </a:extLst>
          </p:cNvPr>
          <p:cNvPicPr>
            <a:picLocks noChangeAspect="1"/>
          </p:cNvPicPr>
          <p:nvPr/>
        </p:nvPicPr>
        <p:blipFill>
          <a:blip r:embed="rId4"/>
          <a:stretch>
            <a:fillRect/>
          </a:stretch>
        </p:blipFill>
        <p:spPr>
          <a:xfrm>
            <a:off x="7755651" y="2858853"/>
            <a:ext cx="5332196" cy="3999147"/>
          </a:xfrm>
          <a:prstGeom prst="rect">
            <a:avLst/>
          </a:prstGeom>
        </p:spPr>
      </p:pic>
      <p:sp>
        <p:nvSpPr>
          <p:cNvPr id="8" name="TextBox 7">
            <a:extLst>
              <a:ext uri="{FF2B5EF4-FFF2-40B4-BE49-F238E27FC236}">
                <a16:creationId xmlns:a16="http://schemas.microsoft.com/office/drawing/2014/main" id="{61C7D2F6-7F39-4BD9-97A5-749459F343EC}"/>
              </a:ext>
            </a:extLst>
          </p:cNvPr>
          <p:cNvSpPr txBox="1"/>
          <p:nvPr/>
        </p:nvSpPr>
        <p:spPr>
          <a:xfrm>
            <a:off x="7625496" y="1281240"/>
            <a:ext cx="4458315" cy="173586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400" b="1" i="0" u="none" strike="noStrike" kern="1200" cap="none" spc="0" normalizeH="0" baseline="0" noProof="0" dirty="0">
                <a:ln>
                  <a:noFill/>
                </a:ln>
                <a:solidFill>
                  <a:srgbClr val="3C3C41"/>
                </a:solidFill>
                <a:effectLst/>
                <a:uLnTx/>
                <a:uFillTx/>
                <a:latin typeface="Segoe UI"/>
                <a:ea typeface="+mn-ea"/>
                <a:cs typeface="+mn-cs"/>
              </a:rPr>
              <a:t>“</a:t>
            </a:r>
            <a:r>
              <a:rPr kumimoji="0" lang="en-GB" sz="2000" b="1" i="0" u="none" strike="noStrike" kern="1200" cap="none" spc="0" normalizeH="0" baseline="0" noProof="0" dirty="0">
                <a:ln>
                  <a:noFill/>
                </a:ln>
                <a:solidFill>
                  <a:srgbClr val="040404"/>
                </a:solidFill>
                <a:effectLst/>
                <a:uLnTx/>
                <a:uFillTx/>
                <a:latin typeface="Segoe UI"/>
                <a:ea typeface="+mn-ea"/>
                <a:cs typeface="+mn-cs"/>
              </a:rPr>
              <a:t>Microsoft 365, Dynamics 365, and the </a:t>
            </a:r>
            <a:r>
              <a:rPr kumimoji="0" lang="en-GB" sz="2000" b="1" i="0" u="none" strike="noStrike" kern="1200" cap="none" spc="0" normalizeH="0" baseline="0" noProof="0" dirty="0">
                <a:ln>
                  <a:noFill/>
                </a:ln>
                <a:solidFill>
                  <a:srgbClr val="742774"/>
                </a:solidFill>
                <a:effectLst/>
                <a:uLnTx/>
                <a:uFillTx/>
                <a:latin typeface="Segoe UI"/>
                <a:ea typeface="+mn-ea"/>
                <a:cs typeface="+mn-cs"/>
              </a:rPr>
              <a:t>Power Platform</a:t>
            </a:r>
            <a:r>
              <a:rPr kumimoji="0" lang="en-GB" sz="2000" b="1" i="0" u="none" strike="noStrike" kern="1200" cap="none" spc="0" normalizeH="0" baseline="0" noProof="0" dirty="0">
                <a:ln>
                  <a:noFill/>
                </a:ln>
                <a:solidFill>
                  <a:srgbClr val="040404"/>
                </a:solidFill>
                <a:effectLst/>
                <a:uLnTx/>
                <a:uFillTx/>
                <a:latin typeface="Segoe UI"/>
                <a:ea typeface="+mn-ea"/>
                <a:cs typeface="+mn-cs"/>
              </a:rPr>
              <a:t>, on top of what we’re doing with Azure, is the core of what we are doing as a company.”</a:t>
            </a:r>
            <a:endParaRPr kumimoji="0" lang="en-GB" sz="2400" b="1" i="0" u="none" strike="noStrike" kern="1200" cap="none" spc="0" normalizeH="0" baseline="0" noProof="0" dirty="0">
              <a:ln>
                <a:noFill/>
              </a:ln>
              <a:solidFill>
                <a:srgbClr val="040404"/>
              </a:solidFill>
              <a:effectLst/>
              <a:uLnTx/>
              <a:uFillTx/>
              <a:latin typeface="Segoe UI"/>
              <a:ea typeface="+mn-ea"/>
              <a:cs typeface="+mn-cs"/>
            </a:endParaRPr>
          </a:p>
        </p:txBody>
      </p:sp>
      <p:sp>
        <p:nvSpPr>
          <p:cNvPr id="9" name="TextBox 8">
            <a:extLst>
              <a:ext uri="{FF2B5EF4-FFF2-40B4-BE49-F238E27FC236}">
                <a16:creationId xmlns:a16="http://schemas.microsoft.com/office/drawing/2014/main" id="{925724E5-C51A-45DA-AA47-09EAAA33F375}"/>
              </a:ext>
            </a:extLst>
          </p:cNvPr>
          <p:cNvSpPr txBox="1"/>
          <p:nvPr/>
        </p:nvSpPr>
        <p:spPr>
          <a:xfrm>
            <a:off x="405720" y="6279164"/>
            <a:ext cx="3829616" cy="495520"/>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600" dirty="0">
                <a:solidFill>
                  <a:srgbClr val="282828"/>
                </a:solidFill>
                <a:latin typeface="Segoe UI Light" panose="020B0502040204020203" pitchFamily="34" charset="0"/>
                <a:cs typeface="Segoe UI Light" panose="020B0502040204020203" pitchFamily="34" charset="0"/>
              </a:rPr>
              <a:t>1 Satya Nadella, Microsoft FY19 Q4 earnings call – Jul 2019</a:t>
            </a:r>
          </a:p>
          <a:p>
            <a:pPr marL="0" marR="0" lvl="0" indent="0" algn="l" defTabSz="914400" rtl="0" eaLnBrk="1" fontAlgn="auto" latinLnBrk="0" hangingPunct="1">
              <a:lnSpc>
                <a:spcPct val="90000"/>
              </a:lnSpc>
              <a:spcBef>
                <a:spcPts val="0"/>
              </a:spcBef>
              <a:spcAft>
                <a:spcPts val="600"/>
              </a:spcAft>
              <a:buClrTx/>
              <a:buSzTx/>
              <a:buFontTx/>
              <a:buNone/>
              <a:tabLst/>
              <a:defRPr/>
            </a:pPr>
            <a:r>
              <a:rPr lang="en-GB" sz="600" dirty="0">
                <a:solidFill>
                  <a:srgbClr val="282828"/>
                </a:solidFill>
                <a:latin typeface="Segoe UI Light" panose="020B0502040204020203" pitchFamily="34" charset="0"/>
                <a:cs typeface="Segoe UI Light" panose="020B0502040204020203" pitchFamily="34" charset="0"/>
              </a:rPr>
              <a:t>2 Gartner Magic Quadrant for Enterprise Low-Code Application Platforms – Aug 2019</a:t>
            </a:r>
          </a:p>
          <a:p>
            <a:pPr marL="0" marR="0" lvl="0" indent="0" algn="l" defTabSz="914400" rtl="0" eaLnBrk="1" fontAlgn="auto" latinLnBrk="0" hangingPunct="1">
              <a:lnSpc>
                <a:spcPct val="90000"/>
              </a:lnSpc>
              <a:spcBef>
                <a:spcPts val="0"/>
              </a:spcBef>
              <a:spcAft>
                <a:spcPts val="600"/>
              </a:spcAft>
              <a:buClrTx/>
              <a:buSzTx/>
              <a:buFontTx/>
              <a:buNone/>
              <a:tabLst/>
              <a:defRPr/>
            </a:pPr>
            <a:r>
              <a:rPr lang="en-GB" sz="600" dirty="0">
                <a:solidFill>
                  <a:srgbClr val="282828"/>
                </a:solidFill>
                <a:latin typeface="Segoe UI Light" panose="020B0502040204020203" pitchFamily="34" charset="0"/>
                <a:cs typeface="Segoe UI Light" panose="020B0502040204020203" pitchFamily="34" charset="0"/>
              </a:rPr>
              <a:t>3 Prescient &amp; Strategic Intelligence Low-Code Development Platform Market Research Report – Sep 2019</a:t>
            </a:r>
          </a:p>
        </p:txBody>
      </p:sp>
    </p:spTree>
    <p:extLst>
      <p:ext uri="{BB962C8B-B14F-4D97-AF65-F5344CB8AC3E}">
        <p14:creationId xmlns:p14="http://schemas.microsoft.com/office/powerpoint/2010/main" val="4358186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CB51FA4-8328-40D5-8C4B-81B13FE89DA8}"/>
              </a:ext>
            </a:extLst>
          </p:cNvPr>
          <p:cNvSpPr/>
          <p:nvPr/>
        </p:nvSpPr>
        <p:spPr bwMode="auto">
          <a:xfrm>
            <a:off x="3428650" y="5317688"/>
            <a:ext cx="8664166" cy="1452904"/>
          </a:xfrm>
          <a:prstGeom prst="rect">
            <a:avLst/>
          </a:prstGeom>
          <a:solidFill>
            <a:schemeClr val="bg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Rectangle 30">
            <a:extLst>
              <a:ext uri="{FF2B5EF4-FFF2-40B4-BE49-F238E27FC236}">
                <a16:creationId xmlns:a16="http://schemas.microsoft.com/office/drawing/2014/main" id="{46E6EE3F-286A-4288-AF3E-6FC58EAFDF34}"/>
              </a:ext>
            </a:extLst>
          </p:cNvPr>
          <p:cNvSpPr/>
          <p:nvPr/>
        </p:nvSpPr>
        <p:spPr bwMode="auto">
          <a:xfrm>
            <a:off x="-6537" y="7056"/>
            <a:ext cx="3533507" cy="6850458"/>
          </a:xfrm>
          <a:prstGeom prst="rect">
            <a:avLst/>
          </a:prstGeom>
          <a:solidFill>
            <a:schemeClr val="tx1">
              <a:lumMod val="40000"/>
              <a:lumOff val="60000"/>
              <a:alpha val="2392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F9D1C721-A0F0-4BEB-8E50-97A986688BAA}"/>
              </a:ext>
            </a:extLst>
          </p:cNvPr>
          <p:cNvSpPr txBox="1"/>
          <p:nvPr/>
        </p:nvSpPr>
        <p:spPr>
          <a:xfrm>
            <a:off x="-13803" y="-73247"/>
            <a:ext cx="3383280"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3600" b="0" i="0" u="none" strike="noStrike" kern="1200" cap="none" spc="0" normalizeH="0" baseline="0" noProof="0">
                <a:ln>
                  <a:noFill/>
                </a:ln>
                <a:solidFill>
                  <a:srgbClr val="742774"/>
                </a:solidFill>
                <a:effectLst/>
                <a:uLnTx/>
                <a:uFillTx/>
                <a:latin typeface="SEGOE UI REGULAR"/>
                <a:ea typeface="+mn-ea"/>
                <a:cs typeface="+mn-cs"/>
              </a:rPr>
              <a:t>Momentum…</a:t>
            </a:r>
          </a:p>
        </p:txBody>
      </p:sp>
      <p:sp>
        <p:nvSpPr>
          <p:cNvPr id="8" name="Rectangle 7">
            <a:extLst>
              <a:ext uri="{FF2B5EF4-FFF2-40B4-BE49-F238E27FC236}">
                <a16:creationId xmlns:a16="http://schemas.microsoft.com/office/drawing/2014/main" id="{CDF0B024-F098-427A-BC5A-53AEABFFC128}"/>
              </a:ext>
            </a:extLst>
          </p:cNvPr>
          <p:cNvSpPr/>
          <p:nvPr/>
        </p:nvSpPr>
        <p:spPr>
          <a:xfrm>
            <a:off x="3868577" y="199434"/>
            <a:ext cx="2340000" cy="2340000"/>
          </a:xfrm>
          <a:prstGeom prst="rect">
            <a:avLst/>
          </a:prstGeom>
          <a:solidFill>
            <a:srgbClr val="0078D7">
              <a:alpha val="25098"/>
            </a:srgb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86%</a:t>
            </a:r>
            <a:endParaRPr kumimoji="0" lang="en-GB" sz="1800" b="1" i="0" u="none" strike="noStrike" kern="1200" cap="none" spc="0" normalizeH="0" baseline="0" noProof="0">
              <a:ln>
                <a:noFill/>
              </a:ln>
              <a:solidFill>
                <a:srgbClr val="5C2D91"/>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Fortune 5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companies us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Power Apps</a:t>
            </a:r>
          </a:p>
        </p:txBody>
      </p:sp>
      <p:sp>
        <p:nvSpPr>
          <p:cNvPr id="24" name="Rectangle 23">
            <a:extLst>
              <a:ext uri="{FF2B5EF4-FFF2-40B4-BE49-F238E27FC236}">
                <a16:creationId xmlns:a16="http://schemas.microsoft.com/office/drawing/2014/main" id="{06B4A68D-B5E8-4775-984B-6756C7087290}"/>
              </a:ext>
            </a:extLst>
          </p:cNvPr>
          <p:cNvSpPr/>
          <p:nvPr/>
        </p:nvSpPr>
        <p:spPr>
          <a:xfrm>
            <a:off x="6673493" y="196769"/>
            <a:ext cx="2340000" cy="2340000"/>
          </a:xfrm>
          <a:prstGeom prst="rect">
            <a:avLst/>
          </a:prstGeom>
          <a:solidFill>
            <a:schemeClr val="accent2">
              <a:alpha val="25098"/>
            </a:scheme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5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Power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Monthly active us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gt; 300% YoY growth)</a:t>
            </a:r>
          </a:p>
        </p:txBody>
      </p:sp>
      <p:sp>
        <p:nvSpPr>
          <p:cNvPr id="25" name="Rectangle 24">
            <a:extLst>
              <a:ext uri="{FF2B5EF4-FFF2-40B4-BE49-F238E27FC236}">
                <a16:creationId xmlns:a16="http://schemas.microsoft.com/office/drawing/2014/main" id="{7AEF7549-A47A-499F-8486-A6DB0B7A9ADE}"/>
              </a:ext>
            </a:extLst>
          </p:cNvPr>
          <p:cNvSpPr/>
          <p:nvPr/>
        </p:nvSpPr>
        <p:spPr>
          <a:xfrm>
            <a:off x="9478409" y="196769"/>
            <a:ext cx="2340000" cy="2340000"/>
          </a:xfrm>
          <a:prstGeom prst="rect">
            <a:avLst/>
          </a:prstGeom>
          <a:solidFill>
            <a:schemeClr val="accent3">
              <a:alpha val="25098"/>
            </a:scheme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4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Local Power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user groups acro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70+ countries</a:t>
            </a:r>
          </a:p>
        </p:txBody>
      </p:sp>
      <p:sp>
        <p:nvSpPr>
          <p:cNvPr id="26" name="Rectangle 25">
            <a:extLst>
              <a:ext uri="{FF2B5EF4-FFF2-40B4-BE49-F238E27FC236}">
                <a16:creationId xmlns:a16="http://schemas.microsoft.com/office/drawing/2014/main" id="{9D2C5CBF-C9A2-4CDC-9F59-FA757A62952B}"/>
              </a:ext>
            </a:extLst>
          </p:cNvPr>
          <p:cNvSpPr/>
          <p:nvPr/>
        </p:nvSpPr>
        <p:spPr>
          <a:xfrm>
            <a:off x="6673493" y="2798425"/>
            <a:ext cx="2340000" cy="2340000"/>
          </a:xfrm>
          <a:prstGeom prst="rect">
            <a:avLst/>
          </a:prstGeom>
          <a:solidFill>
            <a:srgbClr val="FFC000">
              <a:alpha val="25098"/>
            </a:srgb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2.5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Active develop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build Power Apps 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325K+ organisations</a:t>
            </a:r>
          </a:p>
        </p:txBody>
      </p:sp>
      <p:sp>
        <p:nvSpPr>
          <p:cNvPr id="27" name="Rectangle 26">
            <a:extLst>
              <a:ext uri="{FF2B5EF4-FFF2-40B4-BE49-F238E27FC236}">
                <a16:creationId xmlns:a16="http://schemas.microsoft.com/office/drawing/2014/main" id="{9F56CADB-E5A1-4A0D-903E-0FCB96430490}"/>
              </a:ext>
            </a:extLst>
          </p:cNvPr>
          <p:cNvSpPr/>
          <p:nvPr/>
        </p:nvSpPr>
        <p:spPr>
          <a:xfrm>
            <a:off x="9455723" y="2798425"/>
            <a:ext cx="2340000" cy="2340000"/>
          </a:xfrm>
          <a:prstGeom prst="rect">
            <a:avLst/>
          </a:prstGeom>
          <a:solidFill>
            <a:srgbClr val="7030A0">
              <a:alpha val="25098"/>
            </a:srgb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7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Growth 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 of Power Apps buil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in last 12 months)</a:t>
            </a:r>
          </a:p>
        </p:txBody>
      </p:sp>
      <p:sp>
        <p:nvSpPr>
          <p:cNvPr id="28" name="Rectangle 27">
            <a:extLst>
              <a:ext uri="{FF2B5EF4-FFF2-40B4-BE49-F238E27FC236}">
                <a16:creationId xmlns:a16="http://schemas.microsoft.com/office/drawing/2014/main" id="{CAF6B5A9-454F-4385-83C3-BBEC27FBAE62}"/>
              </a:ext>
            </a:extLst>
          </p:cNvPr>
          <p:cNvSpPr/>
          <p:nvPr/>
        </p:nvSpPr>
        <p:spPr>
          <a:xfrm>
            <a:off x="3891263" y="2798425"/>
            <a:ext cx="2340000" cy="2340000"/>
          </a:xfrm>
          <a:prstGeom prst="rect">
            <a:avLst/>
          </a:prstGeom>
          <a:solidFill>
            <a:schemeClr val="accent6">
              <a:alpha val="25098"/>
            </a:schemeClr>
          </a:solidFill>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5C2D91"/>
                </a:solidFill>
                <a:effectLst/>
                <a:uLnTx/>
                <a:uFillTx/>
                <a:latin typeface="Segoe UI"/>
                <a:ea typeface="+mn-ea"/>
                <a:cs typeface="+mn-cs"/>
              </a:rPr>
              <a:t>5T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Transactional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created in C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every single day</a:t>
            </a:r>
          </a:p>
        </p:txBody>
      </p:sp>
      <p:pic>
        <p:nvPicPr>
          <p:cNvPr id="4" name="Picture 3">
            <a:extLst>
              <a:ext uri="{FF2B5EF4-FFF2-40B4-BE49-F238E27FC236}">
                <a16:creationId xmlns:a16="http://schemas.microsoft.com/office/drawing/2014/main" id="{F2E1DA58-1A0A-4AFD-8750-B4D96314B037}"/>
              </a:ext>
            </a:extLst>
          </p:cNvPr>
          <p:cNvPicPr>
            <a:picLocks noChangeAspect="1"/>
          </p:cNvPicPr>
          <p:nvPr/>
        </p:nvPicPr>
        <p:blipFill>
          <a:blip r:embed="rId3"/>
          <a:stretch>
            <a:fillRect/>
          </a:stretch>
        </p:blipFill>
        <p:spPr>
          <a:xfrm>
            <a:off x="454350" y="617938"/>
            <a:ext cx="2599165" cy="2635264"/>
          </a:xfrm>
          <a:prstGeom prst="rect">
            <a:avLst/>
          </a:prstGeom>
        </p:spPr>
      </p:pic>
      <p:pic>
        <p:nvPicPr>
          <p:cNvPr id="5" name="Picture 4">
            <a:extLst>
              <a:ext uri="{FF2B5EF4-FFF2-40B4-BE49-F238E27FC236}">
                <a16:creationId xmlns:a16="http://schemas.microsoft.com/office/drawing/2014/main" id="{189A9BCB-328F-4550-AFEE-9D80DC0426B9}"/>
              </a:ext>
            </a:extLst>
          </p:cNvPr>
          <p:cNvPicPr>
            <a:picLocks noChangeAspect="1"/>
          </p:cNvPicPr>
          <p:nvPr/>
        </p:nvPicPr>
        <p:blipFill>
          <a:blip r:embed="rId4"/>
          <a:stretch>
            <a:fillRect/>
          </a:stretch>
        </p:blipFill>
        <p:spPr>
          <a:xfrm>
            <a:off x="327827" y="3459268"/>
            <a:ext cx="2852212" cy="3115383"/>
          </a:xfrm>
          <a:prstGeom prst="rect">
            <a:avLst/>
          </a:prstGeom>
        </p:spPr>
      </p:pic>
      <p:sp>
        <p:nvSpPr>
          <p:cNvPr id="33" name="TextBox 32">
            <a:extLst>
              <a:ext uri="{FF2B5EF4-FFF2-40B4-BE49-F238E27FC236}">
                <a16:creationId xmlns:a16="http://schemas.microsoft.com/office/drawing/2014/main" id="{05B5238A-BC4B-4578-B9F0-2C1B44B87CF0}"/>
              </a:ext>
            </a:extLst>
          </p:cNvPr>
          <p:cNvSpPr txBox="1"/>
          <p:nvPr/>
        </p:nvSpPr>
        <p:spPr>
          <a:xfrm>
            <a:off x="-12822" y="3090396"/>
            <a:ext cx="3533507" cy="4478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742774"/>
                </a:solidFill>
                <a:effectLst/>
                <a:uLnTx/>
                <a:uFillTx/>
                <a:latin typeface="SEGOE UI REGULAR"/>
                <a:ea typeface="+mn-ea"/>
                <a:cs typeface="+mn-cs"/>
              </a:rPr>
              <a:t>Enterprise Low-Code Application Platforms MQ</a:t>
            </a:r>
          </a:p>
        </p:txBody>
      </p:sp>
      <p:sp>
        <p:nvSpPr>
          <p:cNvPr id="40" name="TextBox 39">
            <a:extLst>
              <a:ext uri="{FF2B5EF4-FFF2-40B4-BE49-F238E27FC236}">
                <a16:creationId xmlns:a16="http://schemas.microsoft.com/office/drawing/2014/main" id="{50C81D67-641A-4709-B5F9-F7B4AFAD4CCC}"/>
              </a:ext>
            </a:extLst>
          </p:cNvPr>
          <p:cNvSpPr txBox="1"/>
          <p:nvPr/>
        </p:nvSpPr>
        <p:spPr>
          <a:xfrm>
            <a:off x="-6537" y="6406871"/>
            <a:ext cx="3533507"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742774"/>
                </a:solidFill>
                <a:effectLst/>
                <a:uLnTx/>
                <a:uFillTx/>
                <a:latin typeface="SEGOE UI REGULAR"/>
                <a:ea typeface="+mn-ea"/>
                <a:cs typeface="+mn-cs"/>
              </a:rPr>
              <a:t>Low-Code Dev Platforms for App Dev &amp; Delivery Pro’s</a:t>
            </a:r>
          </a:p>
        </p:txBody>
      </p:sp>
      <p:grpSp>
        <p:nvGrpSpPr>
          <p:cNvPr id="2" name="Group 1">
            <a:extLst>
              <a:ext uri="{FF2B5EF4-FFF2-40B4-BE49-F238E27FC236}">
                <a16:creationId xmlns:a16="http://schemas.microsoft.com/office/drawing/2014/main" id="{AE500B9E-7F7B-4BAF-9C88-ADE02805AD8B}"/>
              </a:ext>
            </a:extLst>
          </p:cNvPr>
          <p:cNvGrpSpPr/>
          <p:nvPr/>
        </p:nvGrpSpPr>
        <p:grpSpPr>
          <a:xfrm>
            <a:off x="3753109" y="5294171"/>
            <a:ext cx="8284136" cy="1793308"/>
            <a:chOff x="3753109" y="5294171"/>
            <a:chExt cx="8284136" cy="1793308"/>
          </a:xfrm>
        </p:grpSpPr>
        <p:pic>
          <p:nvPicPr>
            <p:cNvPr id="21" name="Picture 20">
              <a:extLst>
                <a:ext uri="{FF2B5EF4-FFF2-40B4-BE49-F238E27FC236}">
                  <a16:creationId xmlns:a16="http://schemas.microsoft.com/office/drawing/2014/main" id="{B352B2F7-B452-452C-B963-154860C596D2}"/>
                </a:ext>
              </a:extLst>
            </p:cNvPr>
            <p:cNvPicPr>
              <a:picLocks noChangeAspect="1"/>
            </p:cNvPicPr>
            <p:nvPr/>
          </p:nvPicPr>
          <p:blipFill>
            <a:blip r:embed="rId5"/>
            <a:stretch>
              <a:fillRect/>
            </a:stretch>
          </p:blipFill>
          <p:spPr>
            <a:xfrm>
              <a:off x="4866906" y="5480249"/>
              <a:ext cx="1797435" cy="419635"/>
            </a:xfrm>
            <a:prstGeom prst="rect">
              <a:avLst/>
            </a:prstGeom>
          </p:spPr>
        </p:pic>
        <p:pic>
          <p:nvPicPr>
            <p:cNvPr id="23" name="Picture 22">
              <a:extLst>
                <a:ext uri="{FF2B5EF4-FFF2-40B4-BE49-F238E27FC236}">
                  <a16:creationId xmlns:a16="http://schemas.microsoft.com/office/drawing/2014/main" id="{C4DCAFAE-CB1D-4197-B19E-996631F8C9B7}"/>
                </a:ext>
              </a:extLst>
            </p:cNvPr>
            <p:cNvPicPr>
              <a:picLocks noChangeAspect="1"/>
            </p:cNvPicPr>
            <p:nvPr/>
          </p:nvPicPr>
          <p:blipFill>
            <a:blip r:embed="rId6"/>
            <a:stretch>
              <a:fillRect/>
            </a:stretch>
          </p:blipFill>
          <p:spPr>
            <a:xfrm>
              <a:off x="11427163" y="5373457"/>
              <a:ext cx="580114" cy="647989"/>
            </a:xfrm>
            <a:prstGeom prst="rect">
              <a:avLst/>
            </a:prstGeom>
          </p:spPr>
        </p:pic>
        <p:pic>
          <p:nvPicPr>
            <p:cNvPr id="29" name="Picture 28">
              <a:extLst>
                <a:ext uri="{FF2B5EF4-FFF2-40B4-BE49-F238E27FC236}">
                  <a16:creationId xmlns:a16="http://schemas.microsoft.com/office/drawing/2014/main" id="{3C462724-D77B-4A61-B6C4-C55F386D2E97}"/>
                </a:ext>
              </a:extLst>
            </p:cNvPr>
            <p:cNvPicPr>
              <a:picLocks noChangeAspect="1"/>
            </p:cNvPicPr>
            <p:nvPr/>
          </p:nvPicPr>
          <p:blipFill>
            <a:blip r:embed="rId7"/>
            <a:stretch>
              <a:fillRect/>
            </a:stretch>
          </p:blipFill>
          <p:spPr>
            <a:xfrm>
              <a:off x="8625561" y="5444701"/>
              <a:ext cx="677362" cy="749617"/>
            </a:xfrm>
            <a:prstGeom prst="rect">
              <a:avLst/>
            </a:prstGeom>
          </p:spPr>
        </p:pic>
        <p:pic>
          <p:nvPicPr>
            <p:cNvPr id="30" name="Picture 29">
              <a:extLst>
                <a:ext uri="{FF2B5EF4-FFF2-40B4-BE49-F238E27FC236}">
                  <a16:creationId xmlns:a16="http://schemas.microsoft.com/office/drawing/2014/main" id="{43210638-3948-47FD-905A-7686039D550F}"/>
                </a:ext>
              </a:extLst>
            </p:cNvPr>
            <p:cNvPicPr>
              <a:picLocks noChangeAspect="1"/>
            </p:cNvPicPr>
            <p:nvPr/>
          </p:nvPicPr>
          <p:blipFill>
            <a:blip r:embed="rId8"/>
            <a:stretch>
              <a:fillRect/>
            </a:stretch>
          </p:blipFill>
          <p:spPr>
            <a:xfrm>
              <a:off x="7780708" y="5987890"/>
              <a:ext cx="722712" cy="722711"/>
            </a:xfrm>
            <a:prstGeom prst="rect">
              <a:avLst/>
            </a:prstGeom>
          </p:spPr>
        </p:pic>
        <p:pic>
          <p:nvPicPr>
            <p:cNvPr id="32" name="Picture 31">
              <a:extLst>
                <a:ext uri="{FF2B5EF4-FFF2-40B4-BE49-F238E27FC236}">
                  <a16:creationId xmlns:a16="http://schemas.microsoft.com/office/drawing/2014/main" id="{AAE22C17-791F-447E-A359-BE1AAB70076B}"/>
                </a:ext>
              </a:extLst>
            </p:cNvPr>
            <p:cNvPicPr>
              <a:picLocks noChangeAspect="1"/>
            </p:cNvPicPr>
            <p:nvPr/>
          </p:nvPicPr>
          <p:blipFill>
            <a:blip r:embed="rId9"/>
            <a:stretch>
              <a:fillRect/>
            </a:stretch>
          </p:blipFill>
          <p:spPr>
            <a:xfrm>
              <a:off x="6948436" y="5945783"/>
              <a:ext cx="655502" cy="655502"/>
            </a:xfrm>
            <a:prstGeom prst="rect">
              <a:avLst/>
            </a:prstGeom>
          </p:spPr>
        </p:pic>
        <p:pic>
          <p:nvPicPr>
            <p:cNvPr id="34" name="Picture 33">
              <a:extLst>
                <a:ext uri="{FF2B5EF4-FFF2-40B4-BE49-F238E27FC236}">
                  <a16:creationId xmlns:a16="http://schemas.microsoft.com/office/drawing/2014/main" id="{B5E22ABF-4748-4DFF-B494-1285EAA10D39}"/>
                </a:ext>
              </a:extLst>
            </p:cNvPr>
            <p:cNvPicPr>
              <a:picLocks noChangeAspect="1"/>
            </p:cNvPicPr>
            <p:nvPr/>
          </p:nvPicPr>
          <p:blipFill>
            <a:blip r:embed="rId10"/>
            <a:stretch>
              <a:fillRect/>
            </a:stretch>
          </p:blipFill>
          <p:spPr>
            <a:xfrm>
              <a:off x="5326069" y="6101206"/>
              <a:ext cx="1411544" cy="478514"/>
            </a:xfrm>
            <a:prstGeom prst="rect">
              <a:avLst/>
            </a:prstGeom>
          </p:spPr>
        </p:pic>
        <p:pic>
          <p:nvPicPr>
            <p:cNvPr id="35" name="Picture 34">
              <a:extLst>
                <a:ext uri="{FF2B5EF4-FFF2-40B4-BE49-F238E27FC236}">
                  <a16:creationId xmlns:a16="http://schemas.microsoft.com/office/drawing/2014/main" id="{3E918889-CE2B-4D66-8F01-D597DDCAE167}"/>
                </a:ext>
              </a:extLst>
            </p:cNvPr>
            <p:cNvPicPr>
              <a:picLocks noChangeAspect="1"/>
            </p:cNvPicPr>
            <p:nvPr/>
          </p:nvPicPr>
          <p:blipFill>
            <a:blip r:embed="rId11"/>
            <a:stretch>
              <a:fillRect/>
            </a:stretch>
          </p:blipFill>
          <p:spPr>
            <a:xfrm>
              <a:off x="6749315" y="5407409"/>
              <a:ext cx="1661329" cy="524242"/>
            </a:xfrm>
            <a:prstGeom prst="rect">
              <a:avLst/>
            </a:prstGeom>
          </p:spPr>
        </p:pic>
        <p:pic>
          <p:nvPicPr>
            <p:cNvPr id="36" name="Picture 2" descr="Virgin America Gives Safety Some Swagger">
              <a:extLst>
                <a:ext uri="{FF2B5EF4-FFF2-40B4-BE49-F238E27FC236}">
                  <a16:creationId xmlns:a16="http://schemas.microsoft.com/office/drawing/2014/main" id="{9C834086-E04A-442A-AA6C-865C3012D860}"/>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13669" b="10913"/>
            <a:stretch/>
          </p:blipFill>
          <p:spPr bwMode="auto">
            <a:xfrm>
              <a:off x="9079712" y="5294171"/>
              <a:ext cx="2274905" cy="52424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A close up of an object&#10;&#10;Description automatically generated">
              <a:extLst>
                <a:ext uri="{FF2B5EF4-FFF2-40B4-BE49-F238E27FC236}">
                  <a16:creationId xmlns:a16="http://schemas.microsoft.com/office/drawing/2014/main" id="{FF94B130-8794-4A54-AD9C-FE743373CE2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63612" y="6339382"/>
              <a:ext cx="1577320" cy="443621"/>
            </a:xfrm>
            <a:prstGeom prst="rect">
              <a:avLst/>
            </a:prstGeom>
          </p:spPr>
        </p:pic>
        <p:pic>
          <p:nvPicPr>
            <p:cNvPr id="42" name="Picture 41">
              <a:extLst>
                <a:ext uri="{FF2B5EF4-FFF2-40B4-BE49-F238E27FC236}">
                  <a16:creationId xmlns:a16="http://schemas.microsoft.com/office/drawing/2014/main" id="{A977DA78-69B4-4233-B7A1-65CC8D1E37AB}"/>
                </a:ext>
              </a:extLst>
            </p:cNvPr>
            <p:cNvPicPr>
              <a:picLocks noChangeAspect="1"/>
            </p:cNvPicPr>
            <p:nvPr/>
          </p:nvPicPr>
          <p:blipFill>
            <a:blip r:embed="rId14"/>
            <a:stretch>
              <a:fillRect/>
            </a:stretch>
          </p:blipFill>
          <p:spPr>
            <a:xfrm>
              <a:off x="9801181" y="5757754"/>
              <a:ext cx="1048603" cy="573074"/>
            </a:xfrm>
            <a:prstGeom prst="rect">
              <a:avLst/>
            </a:prstGeom>
          </p:spPr>
        </p:pic>
        <p:pic>
          <p:nvPicPr>
            <p:cNvPr id="43" name="Picture 42">
              <a:extLst>
                <a:ext uri="{FF2B5EF4-FFF2-40B4-BE49-F238E27FC236}">
                  <a16:creationId xmlns:a16="http://schemas.microsoft.com/office/drawing/2014/main" id="{45D41578-D6A3-42B4-853E-5E22C28D8A0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769276" y="5819510"/>
              <a:ext cx="1267969" cy="1267969"/>
            </a:xfrm>
            <a:prstGeom prst="rect">
              <a:avLst/>
            </a:prstGeom>
          </p:spPr>
        </p:pic>
        <p:pic>
          <p:nvPicPr>
            <p:cNvPr id="7" name="Picture 6">
              <a:extLst>
                <a:ext uri="{FF2B5EF4-FFF2-40B4-BE49-F238E27FC236}">
                  <a16:creationId xmlns:a16="http://schemas.microsoft.com/office/drawing/2014/main" id="{77F41935-5614-4A24-A8C5-6C5D7D7512E2}"/>
                </a:ext>
              </a:extLst>
            </p:cNvPr>
            <p:cNvPicPr>
              <a:picLocks noChangeAspect="1"/>
            </p:cNvPicPr>
            <p:nvPr/>
          </p:nvPicPr>
          <p:blipFill rotWithShape="1">
            <a:blip r:embed="rId16"/>
            <a:srcRect t="7921" b="8261"/>
            <a:stretch/>
          </p:blipFill>
          <p:spPr>
            <a:xfrm>
              <a:off x="3753109" y="5328345"/>
              <a:ext cx="1034402" cy="738212"/>
            </a:xfrm>
            <a:prstGeom prst="rect">
              <a:avLst/>
            </a:prstGeom>
          </p:spPr>
        </p:pic>
        <p:pic>
          <p:nvPicPr>
            <p:cNvPr id="10" name="Picture 9">
              <a:extLst>
                <a:ext uri="{FF2B5EF4-FFF2-40B4-BE49-F238E27FC236}">
                  <a16:creationId xmlns:a16="http://schemas.microsoft.com/office/drawing/2014/main" id="{5BC60E9E-4D35-4D1A-A72B-AB23872EE9B7}"/>
                </a:ext>
              </a:extLst>
            </p:cNvPr>
            <p:cNvPicPr>
              <a:picLocks noChangeAspect="1"/>
            </p:cNvPicPr>
            <p:nvPr/>
          </p:nvPicPr>
          <p:blipFill rotWithShape="1">
            <a:blip r:embed="rId17"/>
            <a:srcRect l="12754" t="11833" r="9587" b="14198"/>
            <a:stretch/>
          </p:blipFill>
          <p:spPr>
            <a:xfrm>
              <a:off x="4394615" y="6069218"/>
              <a:ext cx="795201" cy="625633"/>
            </a:xfrm>
            <a:prstGeom prst="rect">
              <a:avLst/>
            </a:prstGeom>
          </p:spPr>
        </p:pic>
      </p:grpSp>
    </p:spTree>
    <p:extLst>
      <p:ext uri="{BB962C8B-B14F-4D97-AF65-F5344CB8AC3E}">
        <p14:creationId xmlns:p14="http://schemas.microsoft.com/office/powerpoint/2010/main" val="2777382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4" grpId="0" animBg="1"/>
      <p:bldP spid="25" grpId="0" animBg="1"/>
      <p:bldP spid="26" grpId="0" animBg="1"/>
      <p:bldP spid="27" grpId="0" animBg="1"/>
      <p:bldP spid="2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 Placeholder 60">
            <a:extLst>
              <a:ext uri="{FF2B5EF4-FFF2-40B4-BE49-F238E27FC236}">
                <a16:creationId xmlns:a16="http://schemas.microsoft.com/office/drawing/2014/main" id="{6A215A35-8A90-7F49-898C-08C8A21F542A}"/>
              </a:ext>
            </a:extLst>
          </p:cNvPr>
          <p:cNvSpPr>
            <a:spLocks noGrp="1"/>
          </p:cNvSpPr>
          <p:nvPr>
            <p:ph type="body" sz="quarter" idx="29"/>
          </p:nvPr>
        </p:nvSpPr>
        <p:spPr>
          <a:xfrm>
            <a:off x="4610100" y="2305779"/>
            <a:ext cx="3017520" cy="373626"/>
          </a:xfrm>
        </p:spPr>
        <p:txBody>
          <a:bodyPr vert="horz" lIns="0" tIns="45720" rIns="0" bIns="0" rtlCol="0" anchor="b">
            <a:normAutofit/>
          </a:bodyPr>
          <a:lstStyle/>
          <a:p>
            <a:pPr marL="0" indent="0">
              <a:buNone/>
            </a:pPr>
            <a:r>
              <a:rPr lang="en-US" dirty="0"/>
              <a:t>…but few make it actionable.</a:t>
            </a:r>
          </a:p>
        </p:txBody>
      </p:sp>
      <p:sp>
        <p:nvSpPr>
          <p:cNvPr id="62" name="Text Placeholder 61">
            <a:extLst>
              <a:ext uri="{FF2B5EF4-FFF2-40B4-BE49-F238E27FC236}">
                <a16:creationId xmlns:a16="http://schemas.microsoft.com/office/drawing/2014/main" id="{2192C20A-C879-3B4F-8C74-F6847C201FB4}"/>
              </a:ext>
            </a:extLst>
          </p:cNvPr>
          <p:cNvSpPr>
            <a:spLocks noGrp="1"/>
          </p:cNvSpPr>
          <p:nvPr>
            <p:ph type="body" sz="quarter" idx="30"/>
          </p:nvPr>
        </p:nvSpPr>
        <p:spPr>
          <a:xfrm>
            <a:off x="7887161" y="2305779"/>
            <a:ext cx="3017520" cy="466344"/>
          </a:xfrm>
        </p:spPr>
        <p:txBody>
          <a:bodyPr vert="horz" lIns="0" tIns="45720" rIns="0" bIns="0" rtlCol="0" anchor="b">
            <a:normAutofit fontScale="92500" lnSpcReduction="20000"/>
          </a:bodyPr>
          <a:lstStyle/>
          <a:p>
            <a:pPr marL="0" indent="0">
              <a:buNone/>
            </a:pPr>
            <a:r>
              <a:rPr lang="en-US" dirty="0"/>
              <a:t>Workforce requiring multi-device capability</a:t>
            </a:r>
          </a:p>
        </p:txBody>
      </p:sp>
      <p:sp>
        <p:nvSpPr>
          <p:cNvPr id="64" name="Text Placeholder 63">
            <a:extLst>
              <a:ext uri="{FF2B5EF4-FFF2-40B4-BE49-F238E27FC236}">
                <a16:creationId xmlns:a16="http://schemas.microsoft.com/office/drawing/2014/main" id="{D3C1583C-F9A9-7D47-B717-5C84377BE8D4}"/>
              </a:ext>
            </a:extLst>
          </p:cNvPr>
          <p:cNvSpPr>
            <a:spLocks noGrp="1"/>
          </p:cNvSpPr>
          <p:nvPr>
            <p:ph type="body" sz="quarter" idx="33"/>
          </p:nvPr>
        </p:nvSpPr>
        <p:spPr>
          <a:xfrm>
            <a:off x="4610100" y="2679405"/>
            <a:ext cx="3017520" cy="822614"/>
          </a:xfrm>
        </p:spPr>
        <p:txBody>
          <a:bodyPr/>
          <a:lstStyle/>
          <a:p>
            <a:r>
              <a:rPr lang="en-US" b="1" dirty="0"/>
              <a:t>Only 32% </a:t>
            </a:r>
            <a:r>
              <a:rPr lang="en-US" dirty="0"/>
              <a:t>of those companies have </a:t>
            </a:r>
            <a:r>
              <a:rPr lang="en-US" b="1" dirty="0"/>
              <a:t>succeeded in analyzing that data </a:t>
            </a:r>
            <a:r>
              <a:rPr lang="en-US" dirty="0"/>
              <a:t>in any actionable way.</a:t>
            </a:r>
            <a:r>
              <a:rPr lang="en-US" baseline="30000" dirty="0"/>
              <a:t>1</a:t>
            </a:r>
          </a:p>
        </p:txBody>
      </p:sp>
      <p:sp>
        <p:nvSpPr>
          <p:cNvPr id="65" name="Text Placeholder 64">
            <a:extLst>
              <a:ext uri="{FF2B5EF4-FFF2-40B4-BE49-F238E27FC236}">
                <a16:creationId xmlns:a16="http://schemas.microsoft.com/office/drawing/2014/main" id="{58842A0C-D831-344C-812C-774CC60984DF}"/>
              </a:ext>
            </a:extLst>
          </p:cNvPr>
          <p:cNvSpPr>
            <a:spLocks noGrp="1"/>
          </p:cNvSpPr>
          <p:nvPr>
            <p:ph type="body" sz="quarter" idx="34"/>
          </p:nvPr>
        </p:nvSpPr>
        <p:spPr>
          <a:xfrm>
            <a:off x="7887161" y="2775463"/>
            <a:ext cx="3017520" cy="822614"/>
          </a:xfrm>
        </p:spPr>
        <p:txBody>
          <a:bodyPr/>
          <a:lstStyle/>
          <a:p>
            <a:r>
              <a:rPr lang="en-US" b="1" dirty="0"/>
              <a:t>Over 72% </a:t>
            </a:r>
            <a:r>
              <a:rPr lang="en-US" dirty="0"/>
              <a:t>of U.S. workforce will be </a:t>
            </a:r>
            <a:r>
              <a:rPr lang="en-US" b="1" dirty="0"/>
              <a:t>mobile workers </a:t>
            </a:r>
            <a:r>
              <a:rPr lang="en-US" dirty="0"/>
              <a:t>by 2020.</a:t>
            </a:r>
            <a:r>
              <a:rPr lang="en-US" baseline="30000" dirty="0"/>
              <a:t>2</a:t>
            </a:r>
          </a:p>
        </p:txBody>
      </p:sp>
      <p:sp>
        <p:nvSpPr>
          <p:cNvPr id="69" name="Text Placeholder 68">
            <a:extLst>
              <a:ext uri="{FF2B5EF4-FFF2-40B4-BE49-F238E27FC236}">
                <a16:creationId xmlns:a16="http://schemas.microsoft.com/office/drawing/2014/main" id="{38462926-DD1B-DC4F-803C-646F38F61908}"/>
              </a:ext>
            </a:extLst>
          </p:cNvPr>
          <p:cNvSpPr>
            <a:spLocks noGrp="1"/>
          </p:cNvSpPr>
          <p:nvPr>
            <p:ph type="body" sz="quarter" idx="38"/>
          </p:nvPr>
        </p:nvSpPr>
        <p:spPr>
          <a:xfrm>
            <a:off x="1333500" y="4439379"/>
            <a:ext cx="3017520" cy="373626"/>
          </a:xfrm>
        </p:spPr>
        <p:txBody>
          <a:bodyPr vert="horz" lIns="0" tIns="45720" rIns="0" bIns="0" rtlCol="0" anchor="b">
            <a:normAutofit/>
          </a:bodyPr>
          <a:lstStyle/>
          <a:p>
            <a:pPr marL="0" indent="0">
              <a:buNone/>
            </a:pPr>
            <a:r>
              <a:rPr lang="en-US" dirty="0"/>
              <a:t>Mobile &gt; PC</a:t>
            </a:r>
          </a:p>
        </p:txBody>
      </p:sp>
      <p:sp>
        <p:nvSpPr>
          <p:cNvPr id="70" name="Text Placeholder 69">
            <a:extLst>
              <a:ext uri="{FF2B5EF4-FFF2-40B4-BE49-F238E27FC236}">
                <a16:creationId xmlns:a16="http://schemas.microsoft.com/office/drawing/2014/main" id="{2A61D5A2-E212-F043-B617-DADA78D12B33}"/>
              </a:ext>
            </a:extLst>
          </p:cNvPr>
          <p:cNvSpPr>
            <a:spLocks noGrp="1"/>
          </p:cNvSpPr>
          <p:nvPr>
            <p:ph type="body" sz="quarter" idx="39"/>
          </p:nvPr>
        </p:nvSpPr>
        <p:spPr>
          <a:xfrm>
            <a:off x="4610100" y="4439379"/>
            <a:ext cx="3017520" cy="373626"/>
          </a:xfrm>
        </p:spPr>
        <p:txBody>
          <a:bodyPr vert="horz" lIns="0" tIns="45720" rIns="0" bIns="0" rtlCol="0" anchor="b">
            <a:normAutofit/>
          </a:bodyPr>
          <a:lstStyle/>
          <a:p>
            <a:pPr marL="0" indent="0">
              <a:buNone/>
            </a:pPr>
            <a:r>
              <a:rPr lang="en-US" dirty="0"/>
              <a:t>Apps can be expensive</a:t>
            </a:r>
          </a:p>
        </p:txBody>
      </p:sp>
      <p:sp>
        <p:nvSpPr>
          <p:cNvPr id="71" name="Text Placeholder 70">
            <a:extLst>
              <a:ext uri="{FF2B5EF4-FFF2-40B4-BE49-F238E27FC236}">
                <a16:creationId xmlns:a16="http://schemas.microsoft.com/office/drawing/2014/main" id="{C4F92259-64C7-314B-8369-455430F896AC}"/>
              </a:ext>
            </a:extLst>
          </p:cNvPr>
          <p:cNvSpPr>
            <a:spLocks noGrp="1"/>
          </p:cNvSpPr>
          <p:nvPr>
            <p:ph type="body" sz="quarter" idx="40"/>
          </p:nvPr>
        </p:nvSpPr>
        <p:spPr>
          <a:xfrm>
            <a:off x="7887161" y="4439378"/>
            <a:ext cx="3017520" cy="472057"/>
          </a:xfrm>
        </p:spPr>
        <p:txBody>
          <a:bodyPr vert="horz" lIns="0" tIns="45720" rIns="0" bIns="0" rtlCol="0" anchor="b">
            <a:normAutofit fontScale="92500" lnSpcReduction="20000"/>
          </a:bodyPr>
          <a:lstStyle/>
          <a:p>
            <a:pPr marL="0" lvl="0" indent="0" defTabSz="914462">
              <a:spcBef>
                <a:spcPct val="0"/>
              </a:spcBef>
              <a:buNone/>
              <a:defRPr/>
            </a:pPr>
            <a:r>
              <a:rPr lang="en-US" spc="-49" dirty="0">
                <a:ln w="3175">
                  <a:noFill/>
                </a:ln>
                <a:latin typeface="Segoe UI Semibold" panose="020B0702040204020203" pitchFamily="34" charset="0"/>
                <a:cs typeface="Segoe UI Semibold" panose="020B0702040204020203" pitchFamily="34" charset="0"/>
              </a:rPr>
              <a:t>Line of business decision makers are critical to success</a:t>
            </a:r>
          </a:p>
        </p:txBody>
      </p:sp>
      <p:sp>
        <p:nvSpPr>
          <p:cNvPr id="72" name="Text Placeholder 71">
            <a:extLst>
              <a:ext uri="{FF2B5EF4-FFF2-40B4-BE49-F238E27FC236}">
                <a16:creationId xmlns:a16="http://schemas.microsoft.com/office/drawing/2014/main" id="{44A10CD5-EBE6-EC4B-BDFE-89A6BD73F92D}"/>
              </a:ext>
            </a:extLst>
          </p:cNvPr>
          <p:cNvSpPr>
            <a:spLocks noGrp="1"/>
          </p:cNvSpPr>
          <p:nvPr>
            <p:ph type="body" sz="quarter" idx="41"/>
          </p:nvPr>
        </p:nvSpPr>
        <p:spPr>
          <a:xfrm>
            <a:off x="1333500" y="4813005"/>
            <a:ext cx="3017520" cy="665760"/>
          </a:xfrm>
        </p:spPr>
        <p:txBody>
          <a:bodyPr/>
          <a:lstStyle/>
          <a:p>
            <a:r>
              <a:rPr lang="en-US" dirty="0"/>
              <a:t>Time spent on </a:t>
            </a:r>
            <a:r>
              <a:rPr lang="en-US" b="1" dirty="0"/>
              <a:t>mobile is now significantly higher </a:t>
            </a:r>
            <a:r>
              <a:rPr lang="en-US" dirty="0"/>
              <a:t>than time spent on PCs.</a:t>
            </a:r>
            <a:r>
              <a:rPr lang="en-US" baseline="30000" dirty="0"/>
              <a:t>3</a:t>
            </a:r>
          </a:p>
        </p:txBody>
      </p:sp>
      <p:sp>
        <p:nvSpPr>
          <p:cNvPr id="73" name="Text Placeholder 72">
            <a:extLst>
              <a:ext uri="{FF2B5EF4-FFF2-40B4-BE49-F238E27FC236}">
                <a16:creationId xmlns:a16="http://schemas.microsoft.com/office/drawing/2014/main" id="{6FB0A280-C287-034C-9478-91A8A9903A74}"/>
              </a:ext>
            </a:extLst>
          </p:cNvPr>
          <p:cNvSpPr>
            <a:spLocks noGrp="1"/>
          </p:cNvSpPr>
          <p:nvPr>
            <p:ph type="body" sz="quarter" idx="42"/>
          </p:nvPr>
        </p:nvSpPr>
        <p:spPr>
          <a:xfrm>
            <a:off x="4610100" y="4813005"/>
            <a:ext cx="3017520" cy="665760"/>
          </a:xfrm>
        </p:spPr>
        <p:txBody>
          <a:bodyPr>
            <a:normAutofit/>
          </a:bodyPr>
          <a:lstStyle/>
          <a:p>
            <a:r>
              <a:rPr lang="en-US" dirty="0"/>
              <a:t>The </a:t>
            </a:r>
            <a:r>
              <a:rPr lang="en-US" b="1" dirty="0"/>
              <a:t>average cost to produce an app </a:t>
            </a:r>
            <a:r>
              <a:rPr lang="en-US" dirty="0"/>
              <a:t>is $171,450, but can </a:t>
            </a:r>
            <a:r>
              <a:rPr lang="en-US" b="1" dirty="0"/>
              <a:t>quickly increase </a:t>
            </a:r>
            <a:r>
              <a:rPr lang="en-US" dirty="0"/>
              <a:t>beyond $350,000.</a:t>
            </a:r>
            <a:r>
              <a:rPr lang="en-US" baseline="30000" dirty="0"/>
              <a:t>4</a:t>
            </a:r>
          </a:p>
        </p:txBody>
      </p:sp>
      <p:sp>
        <p:nvSpPr>
          <p:cNvPr id="74" name="Text Placeholder 73">
            <a:extLst>
              <a:ext uri="{FF2B5EF4-FFF2-40B4-BE49-F238E27FC236}">
                <a16:creationId xmlns:a16="http://schemas.microsoft.com/office/drawing/2014/main" id="{1DF652E9-03D0-8548-8320-7A168FECB5D8}"/>
              </a:ext>
            </a:extLst>
          </p:cNvPr>
          <p:cNvSpPr>
            <a:spLocks noGrp="1"/>
          </p:cNvSpPr>
          <p:nvPr>
            <p:ph type="body" sz="quarter" idx="43"/>
          </p:nvPr>
        </p:nvSpPr>
        <p:spPr>
          <a:xfrm>
            <a:off x="7887161" y="4911435"/>
            <a:ext cx="3017520" cy="665760"/>
          </a:xfrm>
        </p:spPr>
        <p:txBody>
          <a:bodyPr/>
          <a:lstStyle/>
          <a:p>
            <a:r>
              <a:rPr lang="en-US" dirty="0"/>
              <a:t>81% of </a:t>
            </a:r>
            <a:r>
              <a:rPr lang="en-US" b="1" dirty="0"/>
              <a:t>technology projects </a:t>
            </a:r>
            <a:r>
              <a:rPr lang="en-US" dirty="0"/>
              <a:t>influenced by </a:t>
            </a:r>
            <a:r>
              <a:rPr lang="en-US" b="1" dirty="0"/>
              <a:t>line of business decision makers</a:t>
            </a:r>
            <a:r>
              <a:rPr lang="en-US" baseline="30000" dirty="0"/>
              <a:t>5 </a:t>
            </a:r>
            <a:r>
              <a:rPr lang="en-US" dirty="0"/>
              <a:t>who are looking to create their own solutions.</a:t>
            </a:r>
          </a:p>
        </p:txBody>
      </p:sp>
      <p:sp>
        <p:nvSpPr>
          <p:cNvPr id="75" name="Text Placeholder 74">
            <a:extLst>
              <a:ext uri="{FF2B5EF4-FFF2-40B4-BE49-F238E27FC236}">
                <a16:creationId xmlns:a16="http://schemas.microsoft.com/office/drawing/2014/main" id="{F39140E0-6DF2-A44A-8046-C0CD2DA755E8}"/>
              </a:ext>
            </a:extLst>
          </p:cNvPr>
          <p:cNvSpPr>
            <a:spLocks noGrp="1"/>
          </p:cNvSpPr>
          <p:nvPr>
            <p:ph type="body" sz="quarter" idx="44"/>
          </p:nvPr>
        </p:nvSpPr>
        <p:spPr>
          <a:xfrm>
            <a:off x="7256835" y="5776638"/>
            <a:ext cx="4481434" cy="624161"/>
          </a:xfrm>
        </p:spPr>
        <p:txBody>
          <a:bodyPr lIns="0" tIns="0" rIns="0" bIns="0">
            <a:normAutofit/>
          </a:bodyPr>
          <a:lstStyle/>
          <a:p>
            <a:pPr marL="137160" indent="-137160">
              <a:buAutoNum type="arabicPeriod"/>
            </a:pPr>
            <a:r>
              <a:rPr lang="en-US" sz="600" dirty="0">
                <a:solidFill>
                  <a:srgbClr val="737373"/>
                </a:solidFill>
                <a:latin typeface="SegoeUI" charset="0"/>
              </a:rPr>
              <a:t>Forrester Research, Inc., </a:t>
            </a:r>
            <a:r>
              <a:rPr lang="en-US" sz="600" i="1" dirty="0">
                <a:solidFill>
                  <a:srgbClr val="737373"/>
                </a:solidFill>
                <a:latin typeface="SegoeUI" charset="0"/>
              </a:rPr>
              <a:t>“Predictions 2018: The Honeymoon For AI Is Over.”</a:t>
            </a:r>
            <a:r>
              <a:rPr lang="en-US" sz="600" dirty="0">
                <a:solidFill>
                  <a:srgbClr val="737373"/>
                </a:solidFill>
                <a:latin typeface="SegoeUI" charset="0"/>
              </a:rPr>
              <a:t> November 2017.</a:t>
            </a:r>
          </a:p>
          <a:p>
            <a:pPr marL="137160" indent="-137160">
              <a:buAutoNum type="arabicPeriod"/>
            </a:pPr>
            <a:r>
              <a:rPr lang="en-US" sz="600" dirty="0">
                <a:solidFill>
                  <a:srgbClr val="737373"/>
                </a:solidFill>
                <a:latin typeface="SegoeUI" charset="0"/>
              </a:rPr>
              <a:t>IDC, </a:t>
            </a:r>
            <a:r>
              <a:rPr lang="en-US" sz="600" i="1" dirty="0">
                <a:solidFill>
                  <a:srgbClr val="737373"/>
                </a:solidFill>
                <a:latin typeface="SegoeUI" charset="0"/>
              </a:rPr>
              <a:t>“U.S. Mobile Worker Forecast, 2015-2020.” </a:t>
            </a:r>
            <a:r>
              <a:rPr lang="en-US" sz="600" dirty="0">
                <a:solidFill>
                  <a:srgbClr val="737373"/>
                </a:solidFill>
                <a:latin typeface="SegoeUI" charset="0"/>
              </a:rPr>
              <a:t>June 2015.</a:t>
            </a:r>
          </a:p>
          <a:p>
            <a:pPr marL="137160" indent="-137160">
              <a:buAutoNum type="arabicPeriod"/>
            </a:pPr>
            <a:r>
              <a:rPr lang="en-US" sz="600" dirty="0">
                <a:solidFill>
                  <a:srgbClr val="737373"/>
                </a:solidFill>
                <a:latin typeface="SegoeUI" charset="0"/>
              </a:rPr>
              <a:t>KPMG, </a:t>
            </a:r>
            <a:r>
              <a:rPr lang="en-US" sz="600" i="1" dirty="0">
                <a:solidFill>
                  <a:srgbClr val="737373"/>
                </a:solidFill>
                <a:latin typeface="SegoeUI" charset="0"/>
              </a:rPr>
              <a:t>“Internet Trends 2017.”</a:t>
            </a:r>
            <a:r>
              <a:rPr lang="en-US" sz="600" dirty="0">
                <a:solidFill>
                  <a:srgbClr val="737373"/>
                </a:solidFill>
                <a:latin typeface="SegoeUI" charset="0"/>
              </a:rPr>
              <a:t> 2017.</a:t>
            </a:r>
          </a:p>
          <a:p>
            <a:pPr marL="137160" indent="-137160">
              <a:buAutoNum type="arabicPeriod"/>
            </a:pPr>
            <a:r>
              <a:rPr lang="en-US" sz="600" dirty="0">
                <a:solidFill>
                  <a:srgbClr val="737373"/>
                </a:solidFill>
                <a:latin typeface="SegoeUI" charset="0"/>
              </a:rPr>
              <a:t>Clutch survey, 2017.</a:t>
            </a:r>
          </a:p>
          <a:p>
            <a:pPr marL="137160" indent="-137160">
              <a:buAutoNum type="arabicPeriod"/>
            </a:pPr>
            <a:r>
              <a:rPr lang="en-US" sz="600" dirty="0">
                <a:solidFill>
                  <a:srgbClr val="737373"/>
                </a:solidFill>
                <a:latin typeface="SegoeUI" charset="0"/>
              </a:rPr>
              <a:t>Microsoft, 2017.</a:t>
            </a:r>
          </a:p>
        </p:txBody>
      </p:sp>
      <p:sp>
        <p:nvSpPr>
          <p:cNvPr id="9" name="Text Placeholder 8">
            <a:extLst>
              <a:ext uri="{FF2B5EF4-FFF2-40B4-BE49-F238E27FC236}">
                <a16:creationId xmlns:a16="http://schemas.microsoft.com/office/drawing/2014/main" id="{5BAFAE37-3B99-41C8-A1BA-750A9B1E6638}"/>
              </a:ext>
            </a:extLst>
          </p:cNvPr>
          <p:cNvSpPr>
            <a:spLocks noGrp="1"/>
          </p:cNvSpPr>
          <p:nvPr>
            <p:ph type="body" sz="quarter" idx="28"/>
          </p:nvPr>
        </p:nvSpPr>
        <p:spPr>
          <a:xfrm>
            <a:off x="1333500" y="2305779"/>
            <a:ext cx="3017520" cy="373626"/>
          </a:xfrm>
        </p:spPr>
        <p:txBody>
          <a:bodyPr/>
          <a:lstStyle/>
          <a:p>
            <a:pPr marL="0" indent="0">
              <a:buNone/>
            </a:pPr>
            <a:r>
              <a:rPr lang="en-US" dirty="0"/>
              <a:t>Businesses gather data</a:t>
            </a:r>
          </a:p>
        </p:txBody>
      </p:sp>
      <p:sp>
        <p:nvSpPr>
          <p:cNvPr id="14" name="Text Placeholder 13">
            <a:extLst>
              <a:ext uri="{FF2B5EF4-FFF2-40B4-BE49-F238E27FC236}">
                <a16:creationId xmlns:a16="http://schemas.microsoft.com/office/drawing/2014/main" id="{EBB8232C-3D8B-4F3B-B327-2D18CF0A34A8}"/>
              </a:ext>
            </a:extLst>
          </p:cNvPr>
          <p:cNvSpPr>
            <a:spLocks noGrp="1"/>
          </p:cNvSpPr>
          <p:nvPr>
            <p:ph type="body" sz="quarter" idx="32"/>
          </p:nvPr>
        </p:nvSpPr>
        <p:spPr>
          <a:xfrm>
            <a:off x="1333500" y="2679405"/>
            <a:ext cx="3017520" cy="822614"/>
          </a:xfrm>
        </p:spPr>
        <p:txBody>
          <a:bodyPr/>
          <a:lstStyle/>
          <a:p>
            <a:r>
              <a:rPr lang="en-US" dirty="0"/>
              <a:t>The number of enterprises with more than </a:t>
            </a:r>
            <a:r>
              <a:rPr lang="en-US" b="1" dirty="0"/>
              <a:t>100 terabytes of unstructured data </a:t>
            </a:r>
            <a:r>
              <a:rPr lang="en-US" dirty="0"/>
              <a:t>has </a:t>
            </a:r>
            <a:r>
              <a:rPr lang="en-US" b="1" dirty="0"/>
              <a:t>doubled since 2016</a:t>
            </a:r>
            <a:r>
              <a:rPr lang="en-US" dirty="0"/>
              <a:t>.</a:t>
            </a:r>
            <a:r>
              <a:rPr lang="en-US" baseline="30000" dirty="0"/>
              <a:t>1</a:t>
            </a:r>
          </a:p>
        </p:txBody>
      </p:sp>
      <p:pic>
        <p:nvPicPr>
          <p:cNvPr id="23" name="Picture Placeholder 3">
            <a:extLst>
              <a:ext uri="{FF2B5EF4-FFF2-40B4-BE49-F238E27FC236}">
                <a16:creationId xmlns:a16="http://schemas.microsoft.com/office/drawing/2014/main" id="{1E6B0D5C-D51E-D24B-B921-FB23A8F22125}"/>
              </a:ext>
            </a:extLst>
          </p:cNvPr>
          <p:cNvPicPr>
            <a:picLocks noGrp="1" noChangeAspect="1"/>
          </p:cNvPicPr>
          <p:nvPr>
            <p:ph type="pic" sz="quarter" idx="24"/>
          </p:nvPr>
        </p:nvPicPr>
        <p:blipFill rotWithShape="1">
          <a:blip r:embed="rId3"/>
          <a:srcRect/>
          <a:stretch/>
        </p:blipFill>
        <p:spPr>
          <a:xfrm>
            <a:off x="1333500" y="1647227"/>
            <a:ext cx="640080" cy="640080"/>
          </a:xfrm>
          <a:prstGeom prst="rect">
            <a:avLst/>
          </a:prstGeom>
        </p:spPr>
      </p:pic>
      <p:pic>
        <p:nvPicPr>
          <p:cNvPr id="26" name="Picture Placeholder 4">
            <a:extLst>
              <a:ext uri="{FF2B5EF4-FFF2-40B4-BE49-F238E27FC236}">
                <a16:creationId xmlns:a16="http://schemas.microsoft.com/office/drawing/2014/main" id="{7E1AC77B-CCB1-AB48-B937-0282920BB6E4}"/>
              </a:ext>
            </a:extLst>
          </p:cNvPr>
          <p:cNvPicPr>
            <a:picLocks noGrp="1" noChangeAspect="1"/>
          </p:cNvPicPr>
          <p:nvPr>
            <p:ph type="pic" sz="quarter" idx="25"/>
          </p:nvPr>
        </p:nvPicPr>
        <p:blipFill rotWithShape="1">
          <a:blip r:embed="rId4"/>
          <a:srcRect/>
          <a:stretch/>
        </p:blipFill>
        <p:spPr>
          <a:xfrm>
            <a:off x="4610100" y="1647227"/>
            <a:ext cx="640080" cy="640080"/>
          </a:xfrm>
          <a:prstGeom prst="rect">
            <a:avLst/>
          </a:prstGeom>
        </p:spPr>
      </p:pic>
      <p:pic>
        <p:nvPicPr>
          <p:cNvPr id="29" name="Picture Placeholder 5">
            <a:extLst>
              <a:ext uri="{FF2B5EF4-FFF2-40B4-BE49-F238E27FC236}">
                <a16:creationId xmlns:a16="http://schemas.microsoft.com/office/drawing/2014/main" id="{01FA05ED-E7E0-324B-8254-8CC91C2376E1}"/>
              </a:ext>
            </a:extLst>
          </p:cNvPr>
          <p:cNvPicPr>
            <a:picLocks noGrp="1" noChangeAspect="1"/>
          </p:cNvPicPr>
          <p:nvPr>
            <p:ph type="pic" sz="quarter" idx="26"/>
          </p:nvPr>
        </p:nvPicPr>
        <p:blipFill rotWithShape="1">
          <a:blip r:embed="rId5" cstate="screen">
            <a:extLst>
              <a:ext uri="{28A0092B-C50C-407E-A947-70E740481C1C}">
                <a14:useLocalDpi xmlns:a14="http://schemas.microsoft.com/office/drawing/2010/main"/>
              </a:ext>
            </a:extLst>
          </a:blip>
          <a:srcRect l="-27777" r="-27777"/>
          <a:stretch/>
        </p:blipFill>
        <p:spPr>
          <a:xfrm>
            <a:off x="7887161" y="1647227"/>
            <a:ext cx="640080" cy="640080"/>
          </a:xfrm>
          <a:prstGeom prst="rect">
            <a:avLst/>
          </a:prstGeom>
        </p:spPr>
      </p:pic>
      <p:pic>
        <p:nvPicPr>
          <p:cNvPr id="32" name="Picture Placeholder 6">
            <a:extLst>
              <a:ext uri="{FF2B5EF4-FFF2-40B4-BE49-F238E27FC236}">
                <a16:creationId xmlns:a16="http://schemas.microsoft.com/office/drawing/2014/main" id="{903C1A76-C834-3543-95E3-E190A0994C20}"/>
              </a:ext>
            </a:extLst>
          </p:cNvPr>
          <p:cNvPicPr>
            <a:picLocks noGrp="1" noChangeAspect="1"/>
          </p:cNvPicPr>
          <p:nvPr>
            <p:ph type="pic" sz="quarter" idx="35"/>
          </p:nvPr>
        </p:nvPicPr>
        <p:blipFill rotWithShape="1">
          <a:blip r:embed="rId6" cstate="screen">
            <a:extLst>
              <a:ext uri="{28A0092B-C50C-407E-A947-70E740481C1C}">
                <a14:useLocalDpi xmlns:a14="http://schemas.microsoft.com/office/drawing/2010/main"/>
              </a:ext>
            </a:extLst>
          </a:blip>
          <a:srcRect t="-15217" b="-15217"/>
          <a:stretch/>
        </p:blipFill>
        <p:spPr>
          <a:xfrm>
            <a:off x="1333500" y="3780827"/>
            <a:ext cx="640080" cy="640080"/>
          </a:xfrm>
          <a:prstGeom prst="rect">
            <a:avLst/>
          </a:prstGeom>
        </p:spPr>
      </p:pic>
      <p:pic>
        <p:nvPicPr>
          <p:cNvPr id="36" name="Picture Placeholder 9">
            <a:extLst>
              <a:ext uri="{FF2B5EF4-FFF2-40B4-BE49-F238E27FC236}">
                <a16:creationId xmlns:a16="http://schemas.microsoft.com/office/drawing/2014/main" id="{5932786D-04E3-D44B-B1A7-8A8F04F8A5D3}"/>
              </a:ext>
            </a:extLst>
          </p:cNvPr>
          <p:cNvPicPr>
            <a:picLocks noGrp="1" noChangeAspect="1"/>
          </p:cNvPicPr>
          <p:nvPr>
            <p:ph type="pic" sz="quarter" idx="36"/>
          </p:nvPr>
        </p:nvPicPr>
        <p:blipFill rotWithShape="1">
          <a:blip r:embed="rId7" cstate="screen">
            <a:extLst>
              <a:ext uri="{28A0092B-C50C-407E-A947-70E740481C1C}">
                <a14:useLocalDpi xmlns:a14="http://schemas.microsoft.com/office/drawing/2010/main"/>
              </a:ext>
            </a:extLst>
          </a:blip>
          <a:srcRect l="-27777" r="-27777"/>
          <a:stretch/>
        </p:blipFill>
        <p:spPr>
          <a:xfrm>
            <a:off x="4610100" y="3780827"/>
            <a:ext cx="640080" cy="640080"/>
          </a:xfrm>
          <a:prstGeom prst="rect">
            <a:avLst/>
          </a:prstGeom>
        </p:spPr>
      </p:pic>
      <p:pic>
        <p:nvPicPr>
          <p:cNvPr id="6" name="Picture Placeholder 5">
            <a:extLst>
              <a:ext uri="{FF2B5EF4-FFF2-40B4-BE49-F238E27FC236}">
                <a16:creationId xmlns:a16="http://schemas.microsoft.com/office/drawing/2014/main" id="{66686CF3-65C7-EA45-BF28-E4D8B0472B84}"/>
              </a:ext>
            </a:extLst>
          </p:cNvPr>
          <p:cNvPicPr>
            <a:picLocks noGrp="1" noChangeAspect="1"/>
          </p:cNvPicPr>
          <p:nvPr>
            <p:ph type="pic" sz="quarter" idx="37"/>
          </p:nvPr>
        </p:nvPicPr>
        <p:blipFill rotWithShape="1">
          <a:blip r:embed="rId8"/>
          <a:srcRect t="-12500" b="-12500"/>
          <a:stretch/>
        </p:blipFill>
        <p:spPr>
          <a:xfrm>
            <a:off x="7887161" y="3780827"/>
            <a:ext cx="640080" cy="640080"/>
          </a:xfrm>
          <a:prstGeom prst="rect">
            <a:avLst/>
          </a:prstGeom>
        </p:spPr>
      </p:pic>
      <p:sp>
        <p:nvSpPr>
          <p:cNvPr id="30" name="Title 1">
            <a:extLst>
              <a:ext uri="{FF2B5EF4-FFF2-40B4-BE49-F238E27FC236}">
                <a16:creationId xmlns:a16="http://schemas.microsoft.com/office/drawing/2014/main" id="{4564B47B-0BF0-E243-8951-725E1ED801B9}"/>
              </a:ext>
            </a:extLst>
          </p:cNvPr>
          <p:cNvSpPr txBox="1">
            <a:spLocks/>
          </p:cNvSpPr>
          <p:nvPr/>
        </p:nvSpPr>
        <p:spPr>
          <a:xfrm>
            <a:off x="457199" y="461561"/>
            <a:ext cx="10982739" cy="4985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000" b="0" i="0" kern="120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Segoe UI Semibold" panose="020B0502040204020203" pitchFamily="34" charset="0"/>
                <a:ea typeface="+mj-ea"/>
                <a:cs typeface="Segoe UI Semibold" panose="020B0502040204020203" pitchFamily="34" charset="0"/>
              </a:rPr>
              <a:t>Business users want solutions to their challenges</a:t>
            </a:r>
          </a:p>
        </p:txBody>
      </p:sp>
    </p:spTree>
    <p:extLst>
      <p:ext uri="{BB962C8B-B14F-4D97-AF65-F5344CB8AC3E}">
        <p14:creationId xmlns:p14="http://schemas.microsoft.com/office/powerpoint/2010/main" val="17606396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75CD8-6B02-4F28-863E-68261F1AF36C}"/>
              </a:ext>
            </a:extLst>
          </p:cNvPr>
          <p:cNvSpPr>
            <a:spLocks noGrp="1"/>
          </p:cNvSpPr>
          <p:nvPr>
            <p:ph type="title" idx="4294967295"/>
          </p:nvPr>
        </p:nvSpPr>
        <p:spPr>
          <a:xfrm>
            <a:off x="455423" y="160545"/>
            <a:ext cx="11017250" cy="843613"/>
          </a:xfrm>
          <a:noFill/>
        </p:spPr>
        <p:txBody>
          <a:bodyPr vert="horz" wrap="square" lIns="179259" tIns="143407" rIns="179259" bIns="143407" rtlCol="0" anchor="t">
            <a:spAutoFit/>
          </a:bodyPr>
          <a:lstStyle/>
          <a:p>
            <a:pPr defTabSz="914192">
              <a:spcBef>
                <a:spcPts val="0"/>
              </a:spcBef>
              <a:spcAft>
                <a:spcPts val="588"/>
              </a:spcAft>
            </a:pPr>
            <a:r>
              <a:rPr lang="en-US" sz="3600" spc="-50" dirty="0">
                <a:ln w="3175">
                  <a:noFill/>
                </a:ln>
                <a:solidFill>
                  <a:srgbClr val="282828"/>
                </a:solidFill>
                <a:latin typeface="Segoe UI Semibold"/>
                <a:ea typeface="+mn-ea"/>
                <a:cs typeface="Segoe UI" pitchFamily="34" charset="0"/>
              </a:rPr>
              <a:t>Transforming a business can be challenging</a:t>
            </a:r>
          </a:p>
        </p:txBody>
      </p:sp>
      <p:grpSp>
        <p:nvGrpSpPr>
          <p:cNvPr id="60" name="Group 59">
            <a:extLst>
              <a:ext uri="{FF2B5EF4-FFF2-40B4-BE49-F238E27FC236}">
                <a16:creationId xmlns:a16="http://schemas.microsoft.com/office/drawing/2014/main" id="{C8636E65-8A3F-4BFF-AB2B-2452A5FA37A0}"/>
              </a:ext>
            </a:extLst>
          </p:cNvPr>
          <p:cNvGrpSpPr/>
          <p:nvPr/>
        </p:nvGrpSpPr>
        <p:grpSpPr>
          <a:xfrm>
            <a:off x="-27187" y="1973862"/>
            <a:ext cx="3382737" cy="2814646"/>
            <a:chOff x="-107244" y="2006081"/>
            <a:chExt cx="3632660" cy="2814646"/>
          </a:xfrm>
        </p:grpSpPr>
        <p:cxnSp>
          <p:nvCxnSpPr>
            <p:cNvPr id="6" name="Straight Connector 5">
              <a:extLst>
                <a:ext uri="{FF2B5EF4-FFF2-40B4-BE49-F238E27FC236}">
                  <a16:creationId xmlns:a16="http://schemas.microsoft.com/office/drawing/2014/main" id="{486CB971-EF6F-4BB1-B632-A86DE1BC05BD}"/>
                </a:ext>
              </a:extLst>
            </p:cNvPr>
            <p:cNvCxnSpPr>
              <a:cxnSpLocks/>
            </p:cNvCxnSpPr>
            <p:nvPr/>
          </p:nvCxnSpPr>
          <p:spPr>
            <a:xfrm>
              <a:off x="3400273" y="2006081"/>
              <a:ext cx="0" cy="2743200"/>
            </a:xfrm>
            <a:prstGeom prst="line">
              <a:avLst/>
            </a:prstGeom>
            <a:noFill/>
            <a:ln w="9525" cap="rnd" cmpd="sng" algn="ctr">
              <a:solidFill>
                <a:srgbClr val="2E2F2E">
                  <a:lumMod val="25000"/>
                  <a:lumOff val="75000"/>
                </a:srgbClr>
              </a:solidFill>
              <a:prstDash val="solid"/>
              <a:headEnd type="none"/>
              <a:tailEnd type="none"/>
            </a:ln>
            <a:effectLst/>
          </p:spPr>
        </p:cxnSp>
        <p:grpSp>
          <p:nvGrpSpPr>
            <p:cNvPr id="14" name="Group 13">
              <a:extLst>
                <a:ext uri="{FF2B5EF4-FFF2-40B4-BE49-F238E27FC236}">
                  <a16:creationId xmlns:a16="http://schemas.microsoft.com/office/drawing/2014/main" id="{0BD773F0-BCC2-4686-8ED6-30B0E0BC3D25}"/>
                </a:ext>
              </a:extLst>
            </p:cNvPr>
            <p:cNvGrpSpPr/>
            <p:nvPr/>
          </p:nvGrpSpPr>
          <p:grpSpPr>
            <a:xfrm>
              <a:off x="1338723" y="2089188"/>
              <a:ext cx="2186693" cy="1074695"/>
              <a:chOff x="356149" y="1264208"/>
              <a:chExt cx="2186693" cy="1074695"/>
            </a:xfrm>
          </p:grpSpPr>
          <p:sp>
            <p:nvSpPr>
              <p:cNvPr id="15" name="money_2" title="Icon of a dollar sign with an arrow around it pointing clockwise">
                <a:extLst>
                  <a:ext uri="{FF2B5EF4-FFF2-40B4-BE49-F238E27FC236}">
                    <a16:creationId xmlns:a16="http://schemas.microsoft.com/office/drawing/2014/main" id="{26416AD2-DF53-4500-8078-6A8345F71504}"/>
                  </a:ext>
                </a:extLst>
              </p:cNvPr>
              <p:cNvSpPr>
                <a:spLocks noChangeAspect="1" noEditPoints="1"/>
              </p:cNvSpPr>
              <p:nvPr/>
            </p:nvSpPr>
            <p:spPr bwMode="auto">
              <a:xfrm>
                <a:off x="1169005" y="1264208"/>
                <a:ext cx="482243" cy="508468"/>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6" name="Rectangle 15">
                <a:extLst>
                  <a:ext uri="{FF2B5EF4-FFF2-40B4-BE49-F238E27FC236}">
                    <a16:creationId xmlns:a16="http://schemas.microsoft.com/office/drawing/2014/main" id="{E392C4F7-947F-4D12-8B6F-87894BA8D703}"/>
                  </a:ext>
                </a:extLst>
              </p:cNvPr>
              <p:cNvSpPr/>
              <p:nvPr/>
            </p:nvSpPr>
            <p:spPr>
              <a:xfrm>
                <a:off x="356149" y="1726107"/>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Budget</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onstraints</a:t>
                </a:r>
              </a:p>
            </p:txBody>
          </p:sp>
        </p:grpSp>
        <p:grpSp>
          <p:nvGrpSpPr>
            <p:cNvPr id="17" name="Group 16">
              <a:extLst>
                <a:ext uri="{FF2B5EF4-FFF2-40B4-BE49-F238E27FC236}">
                  <a16:creationId xmlns:a16="http://schemas.microsoft.com/office/drawing/2014/main" id="{DFC016B0-2663-4BDF-B19E-194F04C7AD64}"/>
                </a:ext>
              </a:extLst>
            </p:cNvPr>
            <p:cNvGrpSpPr/>
            <p:nvPr/>
          </p:nvGrpSpPr>
          <p:grpSpPr>
            <a:xfrm>
              <a:off x="30073" y="2150875"/>
              <a:ext cx="2186693" cy="1039891"/>
              <a:chOff x="2717252" y="1347817"/>
              <a:chExt cx="2186693" cy="1039891"/>
            </a:xfrm>
          </p:grpSpPr>
          <p:sp>
            <p:nvSpPr>
              <p:cNvPr id="18" name="clock_10" title="Icon of an hourglass">
                <a:extLst>
                  <a:ext uri="{FF2B5EF4-FFF2-40B4-BE49-F238E27FC236}">
                    <a16:creationId xmlns:a16="http://schemas.microsoft.com/office/drawing/2014/main" id="{C241310C-5215-4AB8-9B5D-B1FC43F96F4D}"/>
                  </a:ext>
                </a:extLst>
              </p:cNvPr>
              <p:cNvSpPr>
                <a:spLocks noChangeAspect="1" noEditPoints="1"/>
              </p:cNvSpPr>
              <p:nvPr/>
            </p:nvSpPr>
            <p:spPr bwMode="auto">
              <a:xfrm>
                <a:off x="3617639" y="1347817"/>
                <a:ext cx="357228" cy="358477"/>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799BAD4C-70BC-4885-A6E9-D82DC7471DBA}"/>
                  </a:ext>
                </a:extLst>
              </p:cNvPr>
              <p:cNvSpPr/>
              <p:nvPr/>
            </p:nvSpPr>
            <p:spPr>
              <a:xfrm>
                <a:off x="2717252" y="1774912"/>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Time &amp; Resource</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onstraints</a:t>
                </a:r>
              </a:p>
            </p:txBody>
          </p:sp>
        </p:grpSp>
        <p:grpSp>
          <p:nvGrpSpPr>
            <p:cNvPr id="20" name="Group 19">
              <a:extLst>
                <a:ext uri="{FF2B5EF4-FFF2-40B4-BE49-F238E27FC236}">
                  <a16:creationId xmlns:a16="http://schemas.microsoft.com/office/drawing/2014/main" id="{82CFCC9C-32DB-4B2F-9D8F-E84F21325954}"/>
                </a:ext>
              </a:extLst>
            </p:cNvPr>
            <p:cNvGrpSpPr/>
            <p:nvPr/>
          </p:nvGrpSpPr>
          <p:grpSpPr>
            <a:xfrm>
              <a:off x="-107244" y="3629641"/>
              <a:ext cx="2186693" cy="1161979"/>
              <a:chOff x="7189453" y="1226455"/>
              <a:chExt cx="2186693" cy="1161979"/>
            </a:xfrm>
          </p:grpSpPr>
          <p:sp>
            <p:nvSpPr>
              <p:cNvPr id="21" name="CRMArticles_EFF5" title="Icon of two documents stacked together with writing on them">
                <a:extLst>
                  <a:ext uri="{FF2B5EF4-FFF2-40B4-BE49-F238E27FC236}">
                    <a16:creationId xmlns:a16="http://schemas.microsoft.com/office/drawing/2014/main" id="{C6EE5B06-C436-4675-B3C9-841BBBEC4A9A}"/>
                  </a:ext>
                </a:extLst>
              </p:cNvPr>
              <p:cNvSpPr>
                <a:spLocks noChangeAspect="1" noEditPoints="1"/>
              </p:cNvSpPr>
              <p:nvPr/>
            </p:nvSpPr>
            <p:spPr bwMode="auto">
              <a:xfrm>
                <a:off x="8058357" y="1226455"/>
                <a:ext cx="386242" cy="44585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5CDEA3CF-8D53-40A5-863A-F6C33BB3C36E}"/>
                  </a:ext>
                </a:extLst>
              </p:cNvPr>
              <p:cNvSpPr/>
              <p:nvPr/>
            </p:nvSpPr>
            <p:spPr>
              <a:xfrm>
                <a:off x="7189453" y="1775638"/>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Paper</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processes</a:t>
                </a:r>
              </a:p>
            </p:txBody>
          </p:sp>
        </p:grpSp>
        <p:grpSp>
          <p:nvGrpSpPr>
            <p:cNvPr id="23" name="Group 22">
              <a:extLst>
                <a:ext uri="{FF2B5EF4-FFF2-40B4-BE49-F238E27FC236}">
                  <a16:creationId xmlns:a16="http://schemas.microsoft.com/office/drawing/2014/main" id="{4773B827-C671-4BE3-8CB7-DD050B11F7FE}"/>
                </a:ext>
              </a:extLst>
            </p:cNvPr>
            <p:cNvGrpSpPr/>
            <p:nvPr/>
          </p:nvGrpSpPr>
          <p:grpSpPr>
            <a:xfrm>
              <a:off x="1253667" y="3615659"/>
              <a:ext cx="2186693" cy="1205068"/>
              <a:chOff x="9422387" y="1192084"/>
              <a:chExt cx="2186693" cy="1205068"/>
            </a:xfrm>
          </p:grpSpPr>
          <p:sp>
            <p:nvSpPr>
              <p:cNvPr id="24" name="strategy" title="Icon of two circles and a curved arrow winding between three exes connecting them">
                <a:extLst>
                  <a:ext uri="{FF2B5EF4-FFF2-40B4-BE49-F238E27FC236}">
                    <a16:creationId xmlns:a16="http://schemas.microsoft.com/office/drawing/2014/main" id="{F9EE5153-BC1E-4888-80E7-3F4DE049DA04}"/>
                  </a:ext>
                </a:extLst>
              </p:cNvPr>
              <p:cNvSpPr>
                <a:spLocks noChangeAspect="1" noEditPoints="1"/>
              </p:cNvSpPr>
              <p:nvPr/>
            </p:nvSpPr>
            <p:spPr bwMode="auto">
              <a:xfrm>
                <a:off x="10322614" y="1192084"/>
                <a:ext cx="386242" cy="514599"/>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tx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EDFF803C-F2DF-4738-8000-29303CB8EE68}"/>
                  </a:ext>
                </a:extLst>
              </p:cNvPr>
              <p:cNvSpPr/>
              <p:nvPr/>
            </p:nvSpPr>
            <p:spPr>
              <a:xfrm>
                <a:off x="9422387" y="1784356"/>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omplex</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processes</a:t>
                </a:r>
              </a:p>
            </p:txBody>
          </p:sp>
        </p:grpSp>
      </p:grpSp>
      <p:grpSp>
        <p:nvGrpSpPr>
          <p:cNvPr id="61" name="Group 60">
            <a:extLst>
              <a:ext uri="{FF2B5EF4-FFF2-40B4-BE49-F238E27FC236}">
                <a16:creationId xmlns:a16="http://schemas.microsoft.com/office/drawing/2014/main" id="{606D46DE-5782-4FE1-AE89-12EC32A9C4CC}"/>
              </a:ext>
            </a:extLst>
          </p:cNvPr>
          <p:cNvGrpSpPr/>
          <p:nvPr/>
        </p:nvGrpSpPr>
        <p:grpSpPr>
          <a:xfrm>
            <a:off x="3970919" y="2058687"/>
            <a:ext cx="2196868" cy="2743200"/>
            <a:chOff x="4159669" y="1530935"/>
            <a:chExt cx="2411375" cy="2762266"/>
          </a:xfrm>
        </p:grpSpPr>
        <p:cxnSp>
          <p:nvCxnSpPr>
            <p:cNvPr id="9" name="Straight Connector 8">
              <a:extLst>
                <a:ext uri="{FF2B5EF4-FFF2-40B4-BE49-F238E27FC236}">
                  <a16:creationId xmlns:a16="http://schemas.microsoft.com/office/drawing/2014/main" id="{2F781EF7-91AC-4B2C-B952-40488FED2B11}"/>
                </a:ext>
              </a:extLst>
            </p:cNvPr>
            <p:cNvCxnSpPr>
              <a:cxnSpLocks/>
            </p:cNvCxnSpPr>
            <p:nvPr/>
          </p:nvCxnSpPr>
          <p:spPr>
            <a:xfrm>
              <a:off x="6571044" y="1530935"/>
              <a:ext cx="0" cy="2762266"/>
            </a:xfrm>
            <a:prstGeom prst="line">
              <a:avLst/>
            </a:prstGeom>
            <a:noFill/>
            <a:ln w="9525" cap="rnd" cmpd="sng" algn="ctr">
              <a:solidFill>
                <a:srgbClr val="2E2F2E">
                  <a:lumMod val="25000"/>
                  <a:lumOff val="75000"/>
                </a:srgbClr>
              </a:solidFill>
              <a:prstDash val="solid"/>
              <a:headEnd type="none"/>
              <a:tailEnd type="none"/>
            </a:ln>
            <a:effectLst/>
          </p:spPr>
        </p:cxnSp>
        <p:grpSp>
          <p:nvGrpSpPr>
            <p:cNvPr id="53" name="Group 52">
              <a:extLst>
                <a:ext uri="{FF2B5EF4-FFF2-40B4-BE49-F238E27FC236}">
                  <a16:creationId xmlns:a16="http://schemas.microsoft.com/office/drawing/2014/main" id="{AFC40D48-271C-463C-B52F-EBE93DA511E5}"/>
                </a:ext>
              </a:extLst>
            </p:cNvPr>
            <p:cNvGrpSpPr/>
            <p:nvPr/>
          </p:nvGrpSpPr>
          <p:grpSpPr>
            <a:xfrm>
              <a:off x="4218451" y="1668614"/>
              <a:ext cx="1515198" cy="1038723"/>
              <a:chOff x="4218451" y="1062333"/>
              <a:chExt cx="1515198" cy="1038723"/>
            </a:xfrm>
          </p:grpSpPr>
          <p:sp>
            <p:nvSpPr>
              <p:cNvPr id="28" name="Rectangle 27">
                <a:extLst>
                  <a:ext uri="{FF2B5EF4-FFF2-40B4-BE49-F238E27FC236}">
                    <a16:creationId xmlns:a16="http://schemas.microsoft.com/office/drawing/2014/main" id="{ED18E511-A07E-4495-AF2B-F6F272146855}"/>
                  </a:ext>
                </a:extLst>
              </p:cNvPr>
              <p:cNvSpPr/>
              <p:nvPr/>
            </p:nvSpPr>
            <p:spPr>
              <a:xfrm>
                <a:off x="4218451" y="1488260"/>
                <a:ext cx="1515198"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Shadow IT”</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governance</a:t>
                </a:r>
              </a:p>
            </p:txBody>
          </p:sp>
          <p:sp>
            <p:nvSpPr>
              <p:cNvPr id="29" name="binoculars" title="Icon of binoculars">
                <a:extLst>
                  <a:ext uri="{FF2B5EF4-FFF2-40B4-BE49-F238E27FC236}">
                    <a16:creationId xmlns:a16="http://schemas.microsoft.com/office/drawing/2014/main" id="{18FEDEE2-E298-476A-838D-0620A252CABE}"/>
                  </a:ext>
                </a:extLst>
              </p:cNvPr>
              <p:cNvSpPr>
                <a:spLocks noChangeAspect="1" noEditPoints="1"/>
              </p:cNvSpPr>
              <p:nvPr/>
            </p:nvSpPr>
            <p:spPr bwMode="auto">
              <a:xfrm>
                <a:off x="4765910" y="1062333"/>
                <a:ext cx="422443" cy="389001"/>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C26E2D57-793E-4533-BBB6-74DC0BD26C0C}"/>
                </a:ext>
              </a:extLst>
            </p:cNvPr>
            <p:cNvGrpSpPr/>
            <p:nvPr/>
          </p:nvGrpSpPr>
          <p:grpSpPr>
            <a:xfrm>
              <a:off x="4159669" y="3119530"/>
              <a:ext cx="1577806" cy="1123966"/>
              <a:chOff x="4833489" y="3000045"/>
              <a:chExt cx="1577806" cy="1123966"/>
            </a:xfrm>
          </p:grpSpPr>
          <p:sp>
            <p:nvSpPr>
              <p:cNvPr id="31" name="speedometer_2" title="Icon of a spedometer showing fast speed">
                <a:extLst>
                  <a:ext uri="{FF2B5EF4-FFF2-40B4-BE49-F238E27FC236}">
                    <a16:creationId xmlns:a16="http://schemas.microsoft.com/office/drawing/2014/main" id="{4E114235-8874-4D53-A43D-93C4A0A20DF7}"/>
                  </a:ext>
                </a:extLst>
              </p:cNvPr>
              <p:cNvSpPr>
                <a:spLocks noChangeAspect="1" noEditPoints="1"/>
              </p:cNvSpPr>
              <p:nvPr/>
            </p:nvSpPr>
            <p:spPr bwMode="auto">
              <a:xfrm>
                <a:off x="5376250" y="3000045"/>
                <a:ext cx="484096" cy="42462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303A0D75-E190-434A-8AC1-B96EE23278FF}"/>
                  </a:ext>
                </a:extLst>
              </p:cNvPr>
              <p:cNvSpPr/>
              <p:nvPr/>
            </p:nvSpPr>
            <p:spPr>
              <a:xfrm>
                <a:off x="4833489" y="3511215"/>
                <a:ext cx="1577806"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hanging Business</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expectations</a:t>
                </a:r>
              </a:p>
            </p:txBody>
          </p:sp>
        </p:grpSp>
      </p:grpSp>
      <p:grpSp>
        <p:nvGrpSpPr>
          <p:cNvPr id="62" name="Group 61">
            <a:extLst>
              <a:ext uri="{FF2B5EF4-FFF2-40B4-BE49-F238E27FC236}">
                <a16:creationId xmlns:a16="http://schemas.microsoft.com/office/drawing/2014/main" id="{A1813A01-A77C-48A3-8438-61715D76E703}"/>
              </a:ext>
            </a:extLst>
          </p:cNvPr>
          <p:cNvGrpSpPr/>
          <p:nvPr/>
        </p:nvGrpSpPr>
        <p:grpSpPr>
          <a:xfrm>
            <a:off x="6747517" y="2091170"/>
            <a:ext cx="1544045" cy="2632700"/>
            <a:chOff x="7033518" y="2116072"/>
            <a:chExt cx="1422119" cy="2632700"/>
          </a:xfrm>
        </p:grpSpPr>
        <p:grpSp>
          <p:nvGrpSpPr>
            <p:cNvPr id="55" name="Group 54">
              <a:extLst>
                <a:ext uri="{FF2B5EF4-FFF2-40B4-BE49-F238E27FC236}">
                  <a16:creationId xmlns:a16="http://schemas.microsoft.com/office/drawing/2014/main" id="{B48FF1CA-D2B7-49A1-8C32-BA151CF3FCD7}"/>
                </a:ext>
              </a:extLst>
            </p:cNvPr>
            <p:cNvGrpSpPr/>
            <p:nvPr/>
          </p:nvGrpSpPr>
          <p:grpSpPr>
            <a:xfrm>
              <a:off x="7071451" y="2116072"/>
              <a:ext cx="1384186" cy="1061446"/>
              <a:chOff x="7676852" y="1284899"/>
              <a:chExt cx="1384186" cy="1061446"/>
            </a:xfrm>
          </p:grpSpPr>
          <p:sp>
            <p:nvSpPr>
              <p:cNvPr id="35" name="Rectangle 34">
                <a:extLst>
                  <a:ext uri="{FF2B5EF4-FFF2-40B4-BE49-F238E27FC236}">
                    <a16:creationId xmlns:a16="http://schemas.microsoft.com/office/drawing/2014/main" id="{0A5C69F8-EEF1-4410-A78A-2EF0E6CE4CAA}"/>
                  </a:ext>
                </a:extLst>
              </p:cNvPr>
              <p:cNvSpPr/>
              <p:nvPr/>
            </p:nvSpPr>
            <p:spPr>
              <a:xfrm>
                <a:off x="7676852" y="1733549"/>
                <a:ext cx="1384186"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No BI integration</a:t>
                </a:r>
              </a:p>
            </p:txBody>
          </p:sp>
          <p:grpSp>
            <p:nvGrpSpPr>
              <p:cNvPr id="36" name="Group 35">
                <a:extLst>
                  <a:ext uri="{FF2B5EF4-FFF2-40B4-BE49-F238E27FC236}">
                    <a16:creationId xmlns:a16="http://schemas.microsoft.com/office/drawing/2014/main" id="{8C95A35A-8470-4208-86C7-22AECB72D624}"/>
                  </a:ext>
                </a:extLst>
              </p:cNvPr>
              <p:cNvGrpSpPr/>
              <p:nvPr/>
            </p:nvGrpSpPr>
            <p:grpSpPr>
              <a:xfrm>
                <a:off x="8133081" y="1284899"/>
                <a:ext cx="457200" cy="350395"/>
                <a:chOff x="5788183" y="3706306"/>
                <a:chExt cx="457200" cy="350395"/>
              </a:xfrm>
            </p:grpSpPr>
            <p:sp>
              <p:nvSpPr>
                <p:cNvPr id="37" name="Financial_E7BB" title="Icon of a chart made of vertical lines with a line tracing the top of each, turning into an arrow pointing up">
                  <a:extLst>
                    <a:ext uri="{FF2B5EF4-FFF2-40B4-BE49-F238E27FC236}">
                      <a16:creationId xmlns:a16="http://schemas.microsoft.com/office/drawing/2014/main" id="{3C7D135D-D42E-4424-8CCF-CC2C87E2FC82}"/>
                    </a:ext>
                  </a:extLst>
                </p:cNvPr>
                <p:cNvSpPr>
                  <a:spLocks noChangeAspect="1" noEditPoints="1"/>
                </p:cNvSpPr>
                <p:nvPr/>
              </p:nvSpPr>
              <p:spPr bwMode="auto">
                <a:xfrm>
                  <a:off x="5919258" y="3771594"/>
                  <a:ext cx="195051" cy="17399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8" name="monitor" title="Icon of a monitor">
                  <a:extLst>
                    <a:ext uri="{FF2B5EF4-FFF2-40B4-BE49-F238E27FC236}">
                      <a16:creationId xmlns:a16="http://schemas.microsoft.com/office/drawing/2014/main" id="{ABCA3363-E8D1-4174-A766-7AB57E07F9D7}"/>
                    </a:ext>
                  </a:extLst>
                </p:cNvPr>
                <p:cNvSpPr>
                  <a:spLocks noChangeAspect="1" noEditPoints="1"/>
                </p:cNvSpPr>
                <p:nvPr/>
              </p:nvSpPr>
              <p:spPr bwMode="auto">
                <a:xfrm>
                  <a:off x="5788183" y="370630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grpSp>
          <p:nvGrpSpPr>
            <p:cNvPr id="57" name="Group 56">
              <a:extLst>
                <a:ext uri="{FF2B5EF4-FFF2-40B4-BE49-F238E27FC236}">
                  <a16:creationId xmlns:a16="http://schemas.microsoft.com/office/drawing/2014/main" id="{5C1F22B1-F28B-4635-BB3A-09971BF1565D}"/>
                </a:ext>
              </a:extLst>
            </p:cNvPr>
            <p:cNvGrpSpPr/>
            <p:nvPr/>
          </p:nvGrpSpPr>
          <p:grpSpPr>
            <a:xfrm>
              <a:off x="7033518" y="3652510"/>
              <a:ext cx="1415118" cy="1096262"/>
              <a:chOff x="7615124" y="3304743"/>
              <a:chExt cx="1415118" cy="1096262"/>
            </a:xfrm>
          </p:grpSpPr>
          <p:sp>
            <p:nvSpPr>
              <p:cNvPr id="41" name="Rectangle 40">
                <a:extLst>
                  <a:ext uri="{FF2B5EF4-FFF2-40B4-BE49-F238E27FC236}">
                    <a16:creationId xmlns:a16="http://schemas.microsoft.com/office/drawing/2014/main" id="{0AD7C921-E56C-4338-9619-77D511BFFA3D}"/>
                  </a:ext>
                </a:extLst>
              </p:cNvPr>
              <p:cNvSpPr/>
              <p:nvPr/>
            </p:nvSpPr>
            <p:spPr>
              <a:xfrm>
                <a:off x="7615124" y="3788209"/>
                <a:ext cx="1415118"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Lack of tracking &amp; measuring performance</a:t>
                </a:r>
              </a:p>
            </p:txBody>
          </p:sp>
          <p:sp>
            <p:nvSpPr>
              <p:cNvPr id="42" name="Website" title="Icon of multiple app windows">
                <a:extLst>
                  <a:ext uri="{FF2B5EF4-FFF2-40B4-BE49-F238E27FC236}">
                    <a16:creationId xmlns:a16="http://schemas.microsoft.com/office/drawing/2014/main" id="{17C227A7-B435-4893-AFF2-84B608CAC798}"/>
                  </a:ext>
                </a:extLst>
              </p:cNvPr>
              <p:cNvSpPr>
                <a:spLocks noChangeAspect="1" noEditPoints="1"/>
              </p:cNvSpPr>
              <p:nvPr/>
            </p:nvSpPr>
            <p:spPr bwMode="auto">
              <a:xfrm>
                <a:off x="8134830" y="3304743"/>
                <a:ext cx="417429" cy="36576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5" name="Group 64">
            <a:extLst>
              <a:ext uri="{FF2B5EF4-FFF2-40B4-BE49-F238E27FC236}">
                <a16:creationId xmlns:a16="http://schemas.microsoft.com/office/drawing/2014/main" id="{4C9147B5-6B41-47E5-AC36-BD2B416E945F}"/>
              </a:ext>
            </a:extLst>
          </p:cNvPr>
          <p:cNvGrpSpPr/>
          <p:nvPr/>
        </p:nvGrpSpPr>
        <p:grpSpPr>
          <a:xfrm>
            <a:off x="8873748" y="2048748"/>
            <a:ext cx="3077643" cy="2743200"/>
            <a:chOff x="9058820" y="1520996"/>
            <a:chExt cx="3304429" cy="2743200"/>
          </a:xfrm>
        </p:grpSpPr>
        <p:cxnSp>
          <p:nvCxnSpPr>
            <p:cNvPr id="8" name="Straight Connector 7">
              <a:extLst>
                <a:ext uri="{FF2B5EF4-FFF2-40B4-BE49-F238E27FC236}">
                  <a16:creationId xmlns:a16="http://schemas.microsoft.com/office/drawing/2014/main" id="{4CC0853F-B72B-4360-B556-BB09BD4D1782}"/>
                </a:ext>
              </a:extLst>
            </p:cNvPr>
            <p:cNvCxnSpPr>
              <a:cxnSpLocks/>
            </p:cNvCxnSpPr>
            <p:nvPr/>
          </p:nvCxnSpPr>
          <p:spPr>
            <a:xfrm>
              <a:off x="9355073" y="1520996"/>
              <a:ext cx="0" cy="2743200"/>
            </a:xfrm>
            <a:prstGeom prst="line">
              <a:avLst/>
            </a:prstGeom>
            <a:noFill/>
            <a:ln w="9525" cap="rnd" cmpd="sng" algn="ctr">
              <a:solidFill>
                <a:srgbClr val="2E2F2E">
                  <a:lumMod val="25000"/>
                  <a:lumOff val="75000"/>
                </a:srgbClr>
              </a:solidFill>
              <a:prstDash val="solid"/>
              <a:headEnd type="none"/>
              <a:tailEnd type="none"/>
            </a:ln>
            <a:effectLst/>
          </p:spPr>
        </p:cxnSp>
        <p:grpSp>
          <p:nvGrpSpPr>
            <p:cNvPr id="64" name="Group 63">
              <a:extLst>
                <a:ext uri="{FF2B5EF4-FFF2-40B4-BE49-F238E27FC236}">
                  <a16:creationId xmlns:a16="http://schemas.microsoft.com/office/drawing/2014/main" id="{609C343C-DCA4-4AA7-A677-3328949FE592}"/>
                </a:ext>
              </a:extLst>
            </p:cNvPr>
            <p:cNvGrpSpPr/>
            <p:nvPr/>
          </p:nvGrpSpPr>
          <p:grpSpPr>
            <a:xfrm>
              <a:off x="9058820" y="1563041"/>
              <a:ext cx="3304429" cy="2610382"/>
              <a:chOff x="9058820" y="1563041"/>
              <a:chExt cx="3304429" cy="2610382"/>
            </a:xfrm>
          </p:grpSpPr>
          <p:grpSp>
            <p:nvGrpSpPr>
              <p:cNvPr id="63" name="Group 62">
                <a:extLst>
                  <a:ext uri="{FF2B5EF4-FFF2-40B4-BE49-F238E27FC236}">
                    <a16:creationId xmlns:a16="http://schemas.microsoft.com/office/drawing/2014/main" id="{33A9812D-FA98-4375-A4C0-DB2B5BF749FE}"/>
                  </a:ext>
                </a:extLst>
              </p:cNvPr>
              <p:cNvGrpSpPr/>
              <p:nvPr/>
            </p:nvGrpSpPr>
            <p:grpSpPr>
              <a:xfrm>
                <a:off x="9058820" y="1563041"/>
                <a:ext cx="3304429" cy="2610382"/>
                <a:chOff x="9058820" y="1563041"/>
                <a:chExt cx="3304429" cy="2610382"/>
              </a:xfrm>
            </p:grpSpPr>
            <p:grpSp>
              <p:nvGrpSpPr>
                <p:cNvPr id="58" name="Group 57">
                  <a:extLst>
                    <a:ext uri="{FF2B5EF4-FFF2-40B4-BE49-F238E27FC236}">
                      <a16:creationId xmlns:a16="http://schemas.microsoft.com/office/drawing/2014/main" id="{04F29781-2371-46B3-8C14-1ADB1FC2FE6D}"/>
                    </a:ext>
                  </a:extLst>
                </p:cNvPr>
                <p:cNvGrpSpPr/>
                <p:nvPr/>
              </p:nvGrpSpPr>
              <p:grpSpPr>
                <a:xfrm>
                  <a:off x="9058820" y="1568074"/>
                  <a:ext cx="2186693" cy="1012356"/>
                  <a:chOff x="9481636" y="996675"/>
                  <a:chExt cx="2186693" cy="1012356"/>
                </a:xfrm>
              </p:grpSpPr>
              <p:sp>
                <p:nvSpPr>
                  <p:cNvPr id="45" name="Rectangle 44">
                    <a:extLst>
                      <a:ext uri="{FF2B5EF4-FFF2-40B4-BE49-F238E27FC236}">
                        <a16:creationId xmlns:a16="http://schemas.microsoft.com/office/drawing/2014/main" id="{B706430C-022E-4928-A17F-FFA5C4E59DED}"/>
                      </a:ext>
                    </a:extLst>
                  </p:cNvPr>
                  <p:cNvSpPr/>
                  <p:nvPr/>
                </p:nvSpPr>
                <p:spPr>
                  <a:xfrm>
                    <a:off x="9481636" y="1396235"/>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Legacy system</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maintenance</a:t>
                    </a:r>
                  </a:p>
                </p:txBody>
              </p:sp>
              <p:sp>
                <p:nvSpPr>
                  <p:cNvPr id="46" name="Browser" title="Icon of a browser window">
                    <a:extLst>
                      <a:ext uri="{FF2B5EF4-FFF2-40B4-BE49-F238E27FC236}">
                        <a16:creationId xmlns:a16="http://schemas.microsoft.com/office/drawing/2014/main" id="{AF33E6FE-543E-4D4A-B91E-191032CC3638}"/>
                      </a:ext>
                    </a:extLst>
                  </p:cNvPr>
                  <p:cNvSpPr>
                    <a:spLocks noChangeAspect="1" noEditPoints="1"/>
                  </p:cNvSpPr>
                  <p:nvPr/>
                </p:nvSpPr>
                <p:spPr bwMode="auto">
                  <a:xfrm>
                    <a:off x="10349550" y="996675"/>
                    <a:ext cx="515371" cy="4124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59" name="Group 58">
                  <a:extLst>
                    <a:ext uri="{FF2B5EF4-FFF2-40B4-BE49-F238E27FC236}">
                      <a16:creationId xmlns:a16="http://schemas.microsoft.com/office/drawing/2014/main" id="{CEB96E09-2275-48DA-9133-F76EFA9DA6A2}"/>
                    </a:ext>
                  </a:extLst>
                </p:cNvPr>
                <p:cNvGrpSpPr/>
                <p:nvPr/>
              </p:nvGrpSpPr>
              <p:grpSpPr>
                <a:xfrm>
                  <a:off x="10754671" y="1563041"/>
                  <a:ext cx="1608578" cy="1117851"/>
                  <a:chOff x="9829770" y="2230420"/>
                  <a:chExt cx="1608578" cy="1117851"/>
                </a:xfrm>
              </p:grpSpPr>
              <p:sp>
                <p:nvSpPr>
                  <p:cNvPr id="47" name="Rectangle 46">
                    <a:extLst>
                      <a:ext uri="{FF2B5EF4-FFF2-40B4-BE49-F238E27FC236}">
                        <a16:creationId xmlns:a16="http://schemas.microsoft.com/office/drawing/2014/main" id="{B9F13AEE-8768-46FF-915B-912D58B828E0}"/>
                      </a:ext>
                    </a:extLst>
                  </p:cNvPr>
                  <p:cNvSpPr/>
                  <p:nvPr/>
                </p:nvSpPr>
                <p:spPr>
                  <a:xfrm>
                    <a:off x="9829770" y="2735475"/>
                    <a:ext cx="1608578"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Security &amp;</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Compliance needs</a:t>
                    </a:r>
                  </a:p>
                </p:txBody>
              </p:sp>
              <p:sp>
                <p:nvSpPr>
                  <p:cNvPr id="48" name="Lock" title="Icon of a padlock">
                    <a:extLst>
                      <a:ext uri="{FF2B5EF4-FFF2-40B4-BE49-F238E27FC236}">
                        <a16:creationId xmlns:a16="http://schemas.microsoft.com/office/drawing/2014/main" id="{E6ECC98E-0969-409B-AB0E-874DB3B22351}"/>
                      </a:ext>
                    </a:extLst>
                  </p:cNvPr>
                  <p:cNvSpPr>
                    <a:spLocks noChangeAspect="1" noEditPoints="1"/>
                  </p:cNvSpPr>
                  <p:nvPr/>
                </p:nvSpPr>
                <p:spPr bwMode="auto">
                  <a:xfrm>
                    <a:off x="10455337" y="2230420"/>
                    <a:ext cx="320606" cy="44809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49" name="Rectangle 48">
                  <a:extLst>
                    <a:ext uri="{FF2B5EF4-FFF2-40B4-BE49-F238E27FC236}">
                      <a16:creationId xmlns:a16="http://schemas.microsoft.com/office/drawing/2014/main" id="{A515DC71-E0A0-4CB9-979E-6C895A37C216}"/>
                    </a:ext>
                  </a:extLst>
                </p:cNvPr>
                <p:cNvSpPr/>
                <p:nvPr/>
              </p:nvSpPr>
              <p:spPr>
                <a:xfrm>
                  <a:off x="9645083" y="3560627"/>
                  <a:ext cx="2186693" cy="612796"/>
                </a:xfrm>
                <a:prstGeom prst="rect">
                  <a:avLst/>
                </a:prstGeom>
                <a:noFill/>
              </p:spPr>
              <p:txBody>
                <a:bodyPr wrap="square" anchor="ctr">
                  <a:noAutofit/>
                </a:bodyPr>
                <a:lstStyle/>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Leverage existing</a:t>
                  </a:r>
                </a:p>
                <a:p>
                  <a:pPr marL="0" marR="0" lvl="0" indent="0" algn="ctr" defTabSz="914400" rtl="0" eaLnBrk="1" fontAlgn="auto" latinLnBrk="0" hangingPunct="1">
                    <a:lnSpc>
                      <a:spcPct val="90000"/>
                    </a:lnSpc>
                    <a:spcBef>
                      <a:spcPts val="0"/>
                    </a:spcBef>
                    <a:spcAft>
                      <a:spcPts val="0"/>
                    </a:spcAft>
                    <a:buClr>
                      <a:srgbClr val="0078D7"/>
                    </a:buClr>
                    <a:buSzTx/>
                    <a:buFontTx/>
                    <a:buNone/>
                    <a:tabLst/>
                    <a:defRPr/>
                  </a:pPr>
                  <a:r>
                    <a:rPr kumimoji="0" lang="en-US" sz="1400" b="0" i="0" u="none" strike="noStrike" kern="1200" cap="none" spc="0" normalizeH="0" baseline="0" noProof="0" dirty="0">
                      <a:ln>
                        <a:noFill/>
                      </a:ln>
                      <a:solidFill>
                        <a:srgbClr val="1A1A1A">
                          <a:alpha val="99000"/>
                        </a:srgbClr>
                      </a:solidFill>
                      <a:effectLst/>
                      <a:uLnTx/>
                      <a:uFillTx/>
                      <a:latin typeface="Segoe UI Semibold"/>
                      <a:ea typeface="+mn-ea"/>
                      <a:cs typeface="Segoe UI Semibold" panose="020B0702040204020203" pitchFamily="34" charset="0"/>
                    </a:rPr>
                    <a:t>technology</a:t>
                  </a:r>
                </a:p>
              </p:txBody>
            </p:sp>
          </p:grpSp>
          <p:sp>
            <p:nvSpPr>
              <p:cNvPr id="50" name="server" title="Icon of a server tower">
                <a:extLst>
                  <a:ext uri="{FF2B5EF4-FFF2-40B4-BE49-F238E27FC236}">
                    <a16:creationId xmlns:a16="http://schemas.microsoft.com/office/drawing/2014/main" id="{4A8A353F-531C-47CD-AD0C-5F07C30342D0}"/>
                  </a:ext>
                </a:extLst>
              </p:cNvPr>
              <p:cNvSpPr>
                <a:spLocks noChangeAspect="1" noEditPoints="1"/>
              </p:cNvSpPr>
              <p:nvPr/>
            </p:nvSpPr>
            <p:spPr bwMode="auto">
              <a:xfrm>
                <a:off x="10619040" y="3058200"/>
                <a:ext cx="259988" cy="4938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5" name="Rectangle 4">
            <a:extLst>
              <a:ext uri="{FF2B5EF4-FFF2-40B4-BE49-F238E27FC236}">
                <a16:creationId xmlns:a16="http://schemas.microsoft.com/office/drawing/2014/main" id="{DE752736-2C07-45A0-B36E-120626022D84}"/>
              </a:ext>
            </a:extLst>
          </p:cNvPr>
          <p:cNvSpPr/>
          <p:nvPr/>
        </p:nvSpPr>
        <p:spPr bwMode="auto">
          <a:xfrm>
            <a:off x="399244" y="1354065"/>
            <a:ext cx="2651052" cy="4678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ime to Market</a:t>
            </a:r>
          </a:p>
        </p:txBody>
      </p:sp>
      <p:sp>
        <p:nvSpPr>
          <p:cNvPr id="101" name="Rectangle 100">
            <a:extLst>
              <a:ext uri="{FF2B5EF4-FFF2-40B4-BE49-F238E27FC236}">
                <a16:creationId xmlns:a16="http://schemas.microsoft.com/office/drawing/2014/main" id="{2D4C37CF-1260-4C93-9292-4BCA73F69577}"/>
              </a:ext>
            </a:extLst>
          </p:cNvPr>
          <p:cNvSpPr/>
          <p:nvPr/>
        </p:nvSpPr>
        <p:spPr bwMode="auto">
          <a:xfrm>
            <a:off x="3444949" y="1342586"/>
            <a:ext cx="2651051" cy="4678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Business/ IT Alignment</a:t>
            </a:r>
          </a:p>
        </p:txBody>
      </p:sp>
      <p:sp>
        <p:nvSpPr>
          <p:cNvPr id="105" name="Rectangle 104">
            <a:extLst>
              <a:ext uri="{FF2B5EF4-FFF2-40B4-BE49-F238E27FC236}">
                <a16:creationId xmlns:a16="http://schemas.microsoft.com/office/drawing/2014/main" id="{4DBA550E-8601-4E51-8B20-D3CDB3332D4A}"/>
              </a:ext>
            </a:extLst>
          </p:cNvPr>
          <p:cNvSpPr/>
          <p:nvPr/>
        </p:nvSpPr>
        <p:spPr bwMode="auto">
          <a:xfrm>
            <a:off x="6370919" y="1342585"/>
            <a:ext cx="2502830" cy="4678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Lack of Insights</a:t>
            </a:r>
          </a:p>
        </p:txBody>
      </p:sp>
      <p:sp>
        <p:nvSpPr>
          <p:cNvPr id="106" name="Rectangle 105">
            <a:extLst>
              <a:ext uri="{FF2B5EF4-FFF2-40B4-BE49-F238E27FC236}">
                <a16:creationId xmlns:a16="http://schemas.microsoft.com/office/drawing/2014/main" id="{B2BC632B-F73A-4FED-A358-D57D545D726E}"/>
              </a:ext>
            </a:extLst>
          </p:cNvPr>
          <p:cNvSpPr/>
          <p:nvPr/>
        </p:nvSpPr>
        <p:spPr bwMode="auto">
          <a:xfrm>
            <a:off x="9273763" y="1338849"/>
            <a:ext cx="2651051" cy="4678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otal cost of ownership</a:t>
            </a:r>
          </a:p>
        </p:txBody>
      </p:sp>
      <p:sp>
        <p:nvSpPr>
          <p:cNvPr id="88" name="Title 1">
            <a:extLst>
              <a:ext uri="{FF2B5EF4-FFF2-40B4-BE49-F238E27FC236}">
                <a16:creationId xmlns:a16="http://schemas.microsoft.com/office/drawing/2014/main" id="{B2BF0AFC-4737-49B4-B8B6-6B515D3A532B}"/>
              </a:ext>
            </a:extLst>
          </p:cNvPr>
          <p:cNvSpPr txBox="1">
            <a:spLocks/>
          </p:cNvSpPr>
          <p:nvPr/>
        </p:nvSpPr>
        <p:spPr>
          <a:xfrm>
            <a:off x="3239017" y="5273436"/>
            <a:ext cx="5301167" cy="425488"/>
          </a:xfrm>
          <a:prstGeom prst="rect">
            <a:avLst/>
          </a:prstGeom>
          <a:noFill/>
        </p:spPr>
        <p:txBody>
          <a:bodyPr vert="horz" wrap="square" lIns="44827" tIns="89654" rIns="44827" bIns="89654" rtlCol="0" anchor="t" anchorCtr="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62" rtl="0" eaLnBrk="1" fontAlgn="auto" latinLnBrk="0" hangingPunct="1">
              <a:lnSpc>
                <a:spcPct val="90000"/>
              </a:lnSpc>
              <a:spcBef>
                <a:spcPct val="0"/>
              </a:spcBef>
              <a:spcAft>
                <a:spcPts val="0"/>
              </a:spcAft>
              <a:buClrTx/>
              <a:buSzTx/>
              <a:buFontTx/>
              <a:buNone/>
              <a:tabLst/>
              <a:defRPr/>
            </a:pPr>
            <a:r>
              <a:rPr kumimoji="0" lang="en-US" sz="1765" b="1" i="0" u="none" strike="noStrike" kern="1200" cap="none" spc="-49" normalizeH="0" baseline="0" noProof="0" dirty="0">
                <a:ln w="3175">
                  <a:noFill/>
                </a:ln>
                <a:solidFill>
                  <a:srgbClr val="001E4E"/>
                </a:solidFill>
                <a:effectLst/>
                <a:uLnTx/>
                <a:uFillTx/>
                <a:latin typeface="Segoe UI Semibold" panose="020B0702040204020203" pitchFamily="34" charset="0"/>
                <a:ea typeface="+mn-ea"/>
                <a:cs typeface="Segoe UI Semibold" panose="020B0702040204020203" pitchFamily="34" charset="0"/>
              </a:rPr>
              <a:t>Line of business decision makers are critical to success</a:t>
            </a:r>
          </a:p>
        </p:txBody>
      </p:sp>
      <p:grpSp>
        <p:nvGrpSpPr>
          <p:cNvPr id="112" name="Group 111">
            <a:extLst>
              <a:ext uri="{FF2B5EF4-FFF2-40B4-BE49-F238E27FC236}">
                <a16:creationId xmlns:a16="http://schemas.microsoft.com/office/drawing/2014/main" id="{1234A393-AFFF-452B-892C-D2B7990887B3}"/>
              </a:ext>
            </a:extLst>
          </p:cNvPr>
          <p:cNvGrpSpPr/>
          <p:nvPr/>
        </p:nvGrpSpPr>
        <p:grpSpPr>
          <a:xfrm>
            <a:off x="1141606" y="5567695"/>
            <a:ext cx="2900669" cy="843032"/>
            <a:chOff x="408198" y="2332338"/>
            <a:chExt cx="2958456" cy="859827"/>
          </a:xfrm>
        </p:grpSpPr>
        <p:sp>
          <p:nvSpPr>
            <p:cNvPr id="113" name="TextBox 112">
              <a:extLst>
                <a:ext uri="{FF2B5EF4-FFF2-40B4-BE49-F238E27FC236}">
                  <a16:creationId xmlns:a16="http://schemas.microsoft.com/office/drawing/2014/main" id="{581EE6C8-98D6-40D7-88B2-9353C78E140F}"/>
                </a:ext>
              </a:extLst>
            </p:cNvPr>
            <p:cNvSpPr txBox="1"/>
            <p:nvPr/>
          </p:nvSpPr>
          <p:spPr>
            <a:xfrm>
              <a:off x="408198" y="2332338"/>
              <a:ext cx="1146282" cy="859827"/>
            </a:xfrm>
            <a:prstGeom prst="rect">
              <a:avLst/>
            </a:prstGeom>
            <a:noFill/>
          </p:spPr>
          <p:txBody>
            <a:bodyPr wrap="square" lIns="44827" tIns="89654" rIns="44827" bIns="89654" rtlCol="0" anchor="ctr">
              <a:noAutofit/>
            </a:bodyPr>
            <a:lstStyle/>
            <a:p>
              <a:pPr marL="0" marR="0" lvl="0" indent="0" algn="l" defTabSz="896480" rtl="0" eaLnBrk="1" fontAlgn="auto" latinLnBrk="0" hangingPunct="1">
                <a:lnSpc>
                  <a:spcPct val="100000"/>
                </a:lnSpc>
                <a:spcBef>
                  <a:spcPts val="0"/>
                </a:spcBef>
                <a:spcAft>
                  <a:spcPts val="588"/>
                </a:spcAft>
                <a:buClrTx/>
                <a:buSzTx/>
                <a:buFontTx/>
                <a:buNone/>
                <a:tabLst/>
                <a:defRPr/>
              </a:pPr>
              <a:r>
                <a:rPr kumimoji="0" lang="en-US" sz="3530" b="1" i="0" u="none" strike="noStrike" kern="0" cap="none" spc="0" normalizeH="0" baseline="0" noProof="0">
                  <a:ln>
                    <a:noFill/>
                  </a:ln>
                  <a:solidFill>
                    <a:srgbClr val="001E4E"/>
                  </a:solidFill>
                  <a:effectLst/>
                  <a:uLnTx/>
                  <a:uFillTx/>
                  <a:latin typeface="Segoe UI"/>
                  <a:ea typeface="Segoe UI" pitchFamily="34" charset="0"/>
                  <a:cs typeface="Segoe UI" pitchFamily="34" charset="0"/>
                </a:rPr>
                <a:t>61%</a:t>
              </a:r>
              <a:endParaRPr kumimoji="0" lang="en-US" sz="1569" b="0" i="0" u="none" strike="noStrike" kern="0" cap="none" spc="0" normalizeH="0" baseline="0" noProof="0">
                <a:ln>
                  <a:noFill/>
                </a:ln>
                <a:solidFill>
                  <a:srgbClr val="505050"/>
                </a:solidFill>
                <a:effectLst/>
                <a:uLnTx/>
                <a:uFillTx/>
                <a:latin typeface="Segoe UI"/>
                <a:ea typeface="+mn-ea"/>
                <a:cs typeface="Segoe UI" panose="020B0502040204020203" pitchFamily="34" charset="0"/>
              </a:endParaRPr>
            </a:p>
          </p:txBody>
        </p:sp>
        <p:sp>
          <p:nvSpPr>
            <p:cNvPr id="114" name="Rectangle 113">
              <a:extLst>
                <a:ext uri="{FF2B5EF4-FFF2-40B4-BE49-F238E27FC236}">
                  <a16:creationId xmlns:a16="http://schemas.microsoft.com/office/drawing/2014/main" id="{D89C3152-4614-42C5-90E7-3D90A2758C5F}"/>
                </a:ext>
              </a:extLst>
            </p:cNvPr>
            <p:cNvSpPr/>
            <p:nvPr/>
          </p:nvSpPr>
          <p:spPr>
            <a:xfrm>
              <a:off x="1354762" y="2500641"/>
              <a:ext cx="2011892" cy="523220"/>
            </a:xfrm>
            <a:prstGeom prst="rect">
              <a:avLst/>
            </a:prstGeom>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of technology projects </a:t>
              </a:r>
              <a:r>
                <a:rPr kumimoji="0" lang="en-US" sz="1373" b="1" i="0" u="none" strike="noStrike" kern="0" cap="none" spc="0" normalizeH="0" baseline="0" noProof="0" dirty="0">
                  <a:ln w="3175">
                    <a:noFill/>
                  </a:ln>
                  <a:solidFill>
                    <a:srgbClr val="505050"/>
                  </a:solidFill>
                  <a:effectLst/>
                  <a:uLnTx/>
                  <a:uFillTx/>
                  <a:latin typeface="Segoe UI"/>
                  <a:ea typeface="+mn-ea"/>
                  <a:cs typeface="Segoe UI" panose="020B0502040204020203" pitchFamily="34" charset="0"/>
                </a:rPr>
                <a:t>funded</a:t>
              </a:r>
              <a:r>
                <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 by </a:t>
              </a:r>
              <a:r>
                <a:rPr kumimoji="0" lang="en-US" sz="1373" b="0" i="0" u="none" strike="noStrike" kern="0" cap="none" spc="0" normalizeH="0" baseline="0" noProof="0" dirty="0" err="1">
                  <a:ln>
                    <a:noFill/>
                  </a:ln>
                  <a:solidFill>
                    <a:srgbClr val="505050"/>
                  </a:solidFill>
                  <a:effectLst/>
                  <a:uLnTx/>
                  <a:uFillTx/>
                  <a:latin typeface="Segoe UI"/>
                  <a:ea typeface="+mn-ea"/>
                  <a:cs typeface="Segoe UI" panose="020B0502040204020203" pitchFamily="34" charset="0"/>
                </a:rPr>
                <a:t>LoB</a:t>
              </a:r>
              <a:endParaRPr kumimoji="0" lang="en-US" sz="1373"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1E3D7959-F7E8-4E89-BC79-8A24A3A1A9CC}"/>
              </a:ext>
            </a:extLst>
          </p:cNvPr>
          <p:cNvGrpSpPr/>
          <p:nvPr/>
        </p:nvGrpSpPr>
        <p:grpSpPr>
          <a:xfrm>
            <a:off x="7968839" y="5632323"/>
            <a:ext cx="3070216" cy="633706"/>
            <a:chOff x="364559" y="3044042"/>
            <a:chExt cx="3131380" cy="646331"/>
          </a:xfrm>
        </p:grpSpPr>
        <p:sp>
          <p:nvSpPr>
            <p:cNvPr id="116" name="Rectangle 115">
              <a:extLst>
                <a:ext uri="{FF2B5EF4-FFF2-40B4-BE49-F238E27FC236}">
                  <a16:creationId xmlns:a16="http://schemas.microsoft.com/office/drawing/2014/main" id="{3D5D945D-32D9-4A64-817F-A8FCA589D60D}"/>
                </a:ext>
              </a:extLst>
            </p:cNvPr>
            <p:cNvSpPr/>
            <p:nvPr/>
          </p:nvSpPr>
          <p:spPr>
            <a:xfrm>
              <a:off x="364559" y="3044042"/>
              <a:ext cx="1117614" cy="646331"/>
            </a:xfrm>
            <a:prstGeom prst="rect">
              <a:avLst/>
            </a:prstGeom>
          </p:spPr>
          <p:txBody>
            <a:bodyPr wrap="none">
              <a:spAutoFit/>
            </a:bodyPr>
            <a:lstStyle/>
            <a:p>
              <a:pPr marL="0" marR="0" lvl="0" indent="0" algn="l" defTabSz="896480" rtl="0" eaLnBrk="1" fontAlgn="auto" latinLnBrk="0" hangingPunct="1">
                <a:lnSpc>
                  <a:spcPct val="100000"/>
                </a:lnSpc>
                <a:spcBef>
                  <a:spcPts val="0"/>
                </a:spcBef>
                <a:spcAft>
                  <a:spcPts val="588"/>
                </a:spcAft>
                <a:buClrTx/>
                <a:buSzTx/>
                <a:buFontTx/>
                <a:buNone/>
                <a:tabLst/>
                <a:defRPr/>
              </a:pPr>
              <a:r>
                <a:rPr kumimoji="0" lang="en-US" sz="3530" b="1" i="0" u="none" strike="noStrike" kern="0" cap="none" spc="0" normalizeH="0" baseline="0" noProof="0">
                  <a:ln>
                    <a:noFill/>
                  </a:ln>
                  <a:solidFill>
                    <a:srgbClr val="001E4E"/>
                  </a:solidFill>
                  <a:effectLst/>
                  <a:uLnTx/>
                  <a:uFillTx/>
                  <a:latin typeface="Segoe UI"/>
                  <a:ea typeface="+mn-ea"/>
                  <a:cs typeface="Segoe UI" pitchFamily="34" charset="0"/>
                </a:rPr>
                <a:t>81%</a:t>
              </a:r>
              <a:endParaRPr kumimoji="0" lang="en-US" sz="1569"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116">
              <a:extLst>
                <a:ext uri="{FF2B5EF4-FFF2-40B4-BE49-F238E27FC236}">
                  <a16:creationId xmlns:a16="http://schemas.microsoft.com/office/drawing/2014/main" id="{E19CB556-D7D8-42B9-B3AE-AF03E2E84CF5}"/>
                </a:ext>
              </a:extLst>
            </p:cNvPr>
            <p:cNvSpPr/>
            <p:nvPr/>
          </p:nvSpPr>
          <p:spPr>
            <a:xfrm>
              <a:off x="1400919" y="3126255"/>
              <a:ext cx="2095020" cy="523220"/>
            </a:xfrm>
            <a:prstGeom prst="rect">
              <a:avLst/>
            </a:prstGeom>
          </p:spPr>
          <p:txBody>
            <a:bodyPr wrap="square">
              <a:spAutoFit/>
            </a:bodyPr>
            <a:lstStyle/>
            <a:p>
              <a:pPr marL="0" marR="0" lvl="0" indent="0" algn="l" defTabSz="914554" rtl="0" eaLnBrk="1" fontAlgn="auto" latinLnBrk="0" hangingPunct="1">
                <a:lnSpc>
                  <a:spcPct val="100000"/>
                </a:lnSpc>
                <a:spcBef>
                  <a:spcPts val="0"/>
                </a:spcBef>
                <a:spcAft>
                  <a:spcPts val="0"/>
                </a:spcAft>
                <a:buClrTx/>
                <a:buSzTx/>
                <a:buFontTx/>
                <a:buNone/>
                <a:tabLst/>
                <a:defRPr/>
              </a:pPr>
              <a:r>
                <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of technology projects </a:t>
              </a:r>
              <a:r>
                <a:rPr kumimoji="0" lang="en-US" sz="1373" b="1"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influenced</a:t>
              </a:r>
              <a:r>
                <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 by </a:t>
              </a:r>
              <a:r>
                <a:rPr kumimoji="0" lang="en-US" sz="1373" b="0" i="0" u="none" strike="noStrike" kern="0" cap="none" spc="0" normalizeH="0" baseline="0" noProof="0" dirty="0" err="1">
                  <a:ln>
                    <a:noFill/>
                  </a:ln>
                  <a:solidFill>
                    <a:srgbClr val="505050"/>
                  </a:solidFill>
                  <a:effectLst/>
                  <a:uLnTx/>
                  <a:uFillTx/>
                  <a:latin typeface="Segoe UI"/>
                  <a:ea typeface="+mn-ea"/>
                  <a:cs typeface="Segoe UI" panose="020B0502040204020203" pitchFamily="34" charset="0"/>
                </a:rPr>
                <a:t>LoB</a:t>
              </a:r>
              <a:endParaRPr kumimoji="0" lang="en-US" sz="1373"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grpSp>
    </p:spTree>
    <p:custDataLst>
      <p:tags r:id="rId1"/>
    </p:custDataLst>
    <p:extLst>
      <p:ext uri="{BB962C8B-B14F-4D97-AF65-F5344CB8AC3E}">
        <p14:creationId xmlns:p14="http://schemas.microsoft.com/office/powerpoint/2010/main" val="4979826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2F059F-9E5F-4185-92ED-71340C00836F}"/>
              </a:ext>
            </a:extLst>
          </p:cNvPr>
          <p:cNvSpPr txBox="1"/>
          <p:nvPr/>
        </p:nvSpPr>
        <p:spPr>
          <a:xfrm>
            <a:off x="82056" y="217265"/>
            <a:ext cx="6358204" cy="6325113"/>
          </a:xfrm>
          <a:prstGeom prst="rect">
            <a:avLst/>
          </a:prstGeom>
          <a:noFill/>
        </p:spPr>
        <p:txBody>
          <a:bodyPr wrap="square" lIns="179259" tIns="143407" rIns="179259" bIns="143407"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Organisations deal with countless</a:t>
            </a: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GB" sz="2800" b="0" i="0" u="none" strike="noStrike" kern="1200" cap="none" spc="0" normalizeH="0" baseline="0" noProof="0" dirty="0">
                <a:ln>
                  <a:noFill/>
                </a:ln>
                <a:solidFill>
                  <a:srgbClr val="000000"/>
                </a:solidFill>
                <a:effectLst/>
                <a:uLnTx/>
                <a:uFillTx/>
                <a:latin typeface="Segoe UI"/>
                <a:ea typeface="+mn-ea"/>
                <a:cs typeface="+mn-cs"/>
              </a:rPr>
              <a:t>manual, paper &amp; complex processes</a:t>
            </a: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Only so many problems can be solved with</a:t>
            </a: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mn-cs"/>
              </a:rPr>
              <a:t>off-the-shelf SaaS</a:t>
            </a:r>
          </a:p>
          <a:p>
            <a:pPr marL="0" marR="0" lvl="0" indent="0" algn="l" defTabSz="914225" rtl="0" eaLnBrk="1" fontAlgn="auto" latinLnBrk="0" hangingPunct="1">
              <a:lnSpc>
                <a:spcPct val="90000"/>
              </a:lnSpc>
              <a:spcBef>
                <a:spcPts val="0"/>
              </a:spcBef>
              <a:spcAft>
                <a:spcPts val="588"/>
              </a:spcAft>
              <a:buClrTx/>
              <a:buSzTx/>
              <a:buFontTx/>
              <a:buNone/>
              <a:tabLst/>
              <a:defRPr/>
            </a:pPr>
            <a:endParaRPr kumimoji="0" lang="en-GB" sz="3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Sometimes…</a:t>
            </a: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GB" sz="2800" b="0" i="0" u="none" strike="noStrike" kern="1200" cap="none" spc="0" normalizeH="0" baseline="0" noProof="0" dirty="0">
                <a:ln>
                  <a:noFill/>
                </a:ln>
                <a:solidFill>
                  <a:srgbClr val="000000"/>
                </a:solidFill>
                <a:effectLst/>
                <a:uLnTx/>
                <a:uFillTx/>
                <a:latin typeface="Segoe UI"/>
                <a:ea typeface="+mn-ea"/>
                <a:cs typeface="+mn-cs"/>
              </a:rPr>
              <a:t>There’s just not “an app for that”</a:t>
            </a:r>
          </a:p>
          <a:p>
            <a:pPr marL="0" marR="0" lvl="0" indent="0" algn="l" defTabSz="914225" rtl="0" eaLnBrk="1" fontAlgn="auto" latinLnBrk="0" hangingPunct="1">
              <a:lnSpc>
                <a:spcPct val="90000"/>
              </a:lnSpc>
              <a:spcBef>
                <a:spcPts val="0"/>
              </a:spcBef>
              <a:spcAft>
                <a:spcPts val="588"/>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Custom development &amp; maintenance</a:t>
            </a:r>
          </a:p>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mn-cs"/>
              </a:rPr>
              <a:t>is time consuming and costly</a:t>
            </a:r>
          </a:p>
          <a:p>
            <a:pPr marL="0" marR="0" lvl="0" indent="0" algn="l" defTabSz="914225" rtl="0" eaLnBrk="1" fontAlgn="auto" latinLnBrk="0" hangingPunct="1">
              <a:lnSpc>
                <a:spcPct val="90000"/>
              </a:lnSpc>
              <a:spcBef>
                <a:spcPts val="0"/>
              </a:spcBef>
              <a:spcAft>
                <a:spcPts val="588"/>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tab pos="2688642" algn="l"/>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Everything else…</a:t>
            </a:r>
          </a:p>
          <a:p>
            <a:pPr marL="0" marR="0" lvl="0" indent="0" algn="l" defTabSz="914225" rtl="0" eaLnBrk="1" fontAlgn="auto" latinLnBrk="0" hangingPunct="1">
              <a:lnSpc>
                <a:spcPct val="90000"/>
              </a:lnSpc>
              <a:spcBef>
                <a:spcPts val="0"/>
              </a:spcBef>
              <a:spcAft>
                <a:spcPts val="588"/>
              </a:spcAft>
              <a:buClrTx/>
              <a:buSzTx/>
              <a:buFontTx/>
              <a:buNone/>
              <a:tabLst/>
              <a:defRPr/>
            </a:pPr>
            <a:r>
              <a:rPr kumimoji="0" lang="en-GB" sz="2800" b="1" i="0" u="none" strike="noStrike" kern="1200" cap="none" spc="0" normalizeH="0" baseline="0" noProof="0" dirty="0">
                <a:ln>
                  <a:noFill/>
                </a:ln>
                <a:solidFill>
                  <a:srgbClr val="742774"/>
                </a:solidFill>
                <a:effectLst/>
                <a:uLnTx/>
                <a:uFillTx/>
                <a:latin typeface="SEGOE UI REGULAR"/>
                <a:ea typeface="+mn-ea"/>
                <a:cs typeface="+mn-cs"/>
              </a:rPr>
              <a:t>is a missed opportunity to optimise</a:t>
            </a:r>
          </a:p>
        </p:txBody>
      </p:sp>
      <p:sp>
        <p:nvSpPr>
          <p:cNvPr id="138" name="Rounded Rectangle 2">
            <a:extLst>
              <a:ext uri="{FF2B5EF4-FFF2-40B4-BE49-F238E27FC236}">
                <a16:creationId xmlns:a16="http://schemas.microsoft.com/office/drawing/2014/main" id="{50195AB8-872B-4ACE-9904-15CF2F6F172D}"/>
              </a:ext>
            </a:extLst>
          </p:cNvPr>
          <p:cNvSpPr/>
          <p:nvPr/>
        </p:nvSpPr>
        <p:spPr bwMode="auto">
          <a:xfrm>
            <a:off x="6408764" y="2723241"/>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Rounded Rectangle 3">
            <a:extLst>
              <a:ext uri="{FF2B5EF4-FFF2-40B4-BE49-F238E27FC236}">
                <a16:creationId xmlns:a16="http://schemas.microsoft.com/office/drawing/2014/main" id="{8485E5F6-3E03-4A00-BAC8-A8F10DB58F68}"/>
              </a:ext>
            </a:extLst>
          </p:cNvPr>
          <p:cNvSpPr/>
          <p:nvPr/>
        </p:nvSpPr>
        <p:spPr bwMode="auto">
          <a:xfrm>
            <a:off x="6912988" y="2723240"/>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ounded Rectangle 4">
            <a:extLst>
              <a:ext uri="{FF2B5EF4-FFF2-40B4-BE49-F238E27FC236}">
                <a16:creationId xmlns:a16="http://schemas.microsoft.com/office/drawing/2014/main" id="{903792B5-CDE1-4844-B286-AC906A9D8193}"/>
              </a:ext>
            </a:extLst>
          </p:cNvPr>
          <p:cNvSpPr/>
          <p:nvPr/>
        </p:nvSpPr>
        <p:spPr bwMode="auto">
          <a:xfrm>
            <a:off x="7417211" y="2723240"/>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Rounded Rectangle 11">
            <a:extLst>
              <a:ext uri="{FF2B5EF4-FFF2-40B4-BE49-F238E27FC236}">
                <a16:creationId xmlns:a16="http://schemas.microsoft.com/office/drawing/2014/main" id="{E895E73F-ECC6-46FE-B690-46690F30C3B4}"/>
              </a:ext>
            </a:extLst>
          </p:cNvPr>
          <p:cNvSpPr/>
          <p:nvPr/>
        </p:nvSpPr>
        <p:spPr bwMode="auto">
          <a:xfrm>
            <a:off x="6402409" y="3222932"/>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Rounded Rectangle 12">
            <a:extLst>
              <a:ext uri="{FF2B5EF4-FFF2-40B4-BE49-F238E27FC236}">
                <a16:creationId xmlns:a16="http://schemas.microsoft.com/office/drawing/2014/main" id="{055F4356-6BEB-4558-ADB2-7E34311A7B0B}"/>
              </a:ext>
            </a:extLst>
          </p:cNvPr>
          <p:cNvSpPr/>
          <p:nvPr/>
        </p:nvSpPr>
        <p:spPr bwMode="auto">
          <a:xfrm>
            <a:off x="6906633" y="3222931"/>
            <a:ext cx="415818" cy="415818"/>
          </a:xfrm>
          <a:prstGeom prst="roundRect">
            <a:avLst>
              <a:gd name="adj" fmla="val 0"/>
            </a:avLst>
          </a:prstGeom>
          <a:solidFill>
            <a:schemeClr val="bg2">
              <a:lumMod val="50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 name="Rounded Rectangle 19">
            <a:extLst>
              <a:ext uri="{FF2B5EF4-FFF2-40B4-BE49-F238E27FC236}">
                <a16:creationId xmlns:a16="http://schemas.microsoft.com/office/drawing/2014/main" id="{56FA3F56-6ADA-407F-A032-5A0181D8F71D}"/>
              </a:ext>
            </a:extLst>
          </p:cNvPr>
          <p:cNvSpPr/>
          <p:nvPr/>
        </p:nvSpPr>
        <p:spPr bwMode="auto">
          <a:xfrm>
            <a:off x="6409725" y="1228046"/>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Rounded Rectangle 20">
            <a:extLst>
              <a:ext uri="{FF2B5EF4-FFF2-40B4-BE49-F238E27FC236}">
                <a16:creationId xmlns:a16="http://schemas.microsoft.com/office/drawing/2014/main" id="{2AAFD6B3-FAE9-47E3-8958-6A5CD32B1709}"/>
              </a:ext>
            </a:extLst>
          </p:cNvPr>
          <p:cNvSpPr/>
          <p:nvPr/>
        </p:nvSpPr>
        <p:spPr bwMode="auto">
          <a:xfrm>
            <a:off x="6913949" y="1228045"/>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Rounded Rectangle 21">
            <a:extLst>
              <a:ext uri="{FF2B5EF4-FFF2-40B4-BE49-F238E27FC236}">
                <a16:creationId xmlns:a16="http://schemas.microsoft.com/office/drawing/2014/main" id="{CEE65497-2DCA-4E0A-B259-228A87396B4B}"/>
              </a:ext>
            </a:extLst>
          </p:cNvPr>
          <p:cNvSpPr/>
          <p:nvPr/>
        </p:nvSpPr>
        <p:spPr bwMode="auto">
          <a:xfrm>
            <a:off x="7418173" y="1228045"/>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Rounded Rectangle 22">
            <a:extLst>
              <a:ext uri="{FF2B5EF4-FFF2-40B4-BE49-F238E27FC236}">
                <a16:creationId xmlns:a16="http://schemas.microsoft.com/office/drawing/2014/main" id="{EB9B4930-7D28-4894-9321-37420F1DC5C9}"/>
              </a:ext>
            </a:extLst>
          </p:cNvPr>
          <p:cNvSpPr/>
          <p:nvPr/>
        </p:nvSpPr>
        <p:spPr bwMode="auto">
          <a:xfrm>
            <a:off x="7922396" y="1228044"/>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ounded Rectangle 23">
            <a:extLst>
              <a:ext uri="{FF2B5EF4-FFF2-40B4-BE49-F238E27FC236}">
                <a16:creationId xmlns:a16="http://schemas.microsoft.com/office/drawing/2014/main" id="{536BEB4D-C584-45CC-AC23-6E9733E572D0}"/>
              </a:ext>
            </a:extLst>
          </p:cNvPr>
          <p:cNvSpPr/>
          <p:nvPr/>
        </p:nvSpPr>
        <p:spPr bwMode="auto">
          <a:xfrm>
            <a:off x="8426619" y="1228044"/>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ounded Rectangle 35">
            <a:extLst>
              <a:ext uri="{FF2B5EF4-FFF2-40B4-BE49-F238E27FC236}">
                <a16:creationId xmlns:a16="http://schemas.microsoft.com/office/drawing/2014/main" id="{B6FB1166-D436-41DE-9E09-A08E9D8B35E4}"/>
              </a:ext>
            </a:extLst>
          </p:cNvPr>
          <p:cNvSpPr/>
          <p:nvPr/>
        </p:nvSpPr>
        <p:spPr bwMode="auto">
          <a:xfrm>
            <a:off x="6409725" y="1727729"/>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Rounded Rectangle 36">
            <a:extLst>
              <a:ext uri="{FF2B5EF4-FFF2-40B4-BE49-F238E27FC236}">
                <a16:creationId xmlns:a16="http://schemas.microsoft.com/office/drawing/2014/main" id="{C33DC8EF-23CE-40A4-B1BE-1C76C5EE980A}"/>
              </a:ext>
            </a:extLst>
          </p:cNvPr>
          <p:cNvSpPr/>
          <p:nvPr/>
        </p:nvSpPr>
        <p:spPr bwMode="auto">
          <a:xfrm>
            <a:off x="6913949" y="1727729"/>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Rounded Rectangle 37">
            <a:extLst>
              <a:ext uri="{FF2B5EF4-FFF2-40B4-BE49-F238E27FC236}">
                <a16:creationId xmlns:a16="http://schemas.microsoft.com/office/drawing/2014/main" id="{2BBC1114-5E5F-4447-961E-CB826C6F8390}"/>
              </a:ext>
            </a:extLst>
          </p:cNvPr>
          <p:cNvSpPr/>
          <p:nvPr/>
        </p:nvSpPr>
        <p:spPr bwMode="auto">
          <a:xfrm>
            <a:off x="7418173" y="1727728"/>
            <a:ext cx="415818" cy="415818"/>
          </a:xfrm>
          <a:prstGeom prst="roundRect">
            <a:avLst>
              <a:gd name="adj" fmla="val 0"/>
            </a:avLst>
          </a:prstGeom>
          <a:solidFill>
            <a:schemeClr val="tx1">
              <a:lumMod val="75000"/>
              <a:lumOff val="2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1" name="Group 150">
            <a:extLst>
              <a:ext uri="{FF2B5EF4-FFF2-40B4-BE49-F238E27FC236}">
                <a16:creationId xmlns:a16="http://schemas.microsoft.com/office/drawing/2014/main" id="{6F3D09FB-4DE2-4B80-8FDD-3BB614AB123D}"/>
              </a:ext>
            </a:extLst>
          </p:cNvPr>
          <p:cNvGrpSpPr/>
          <p:nvPr/>
        </p:nvGrpSpPr>
        <p:grpSpPr>
          <a:xfrm>
            <a:off x="6395093" y="228674"/>
            <a:ext cx="5490973" cy="6412061"/>
            <a:chOff x="6628170" y="232299"/>
            <a:chExt cx="5601873" cy="6541563"/>
          </a:xfrm>
          <a:solidFill>
            <a:srgbClr val="742774"/>
          </a:solidFill>
        </p:grpSpPr>
        <p:sp>
          <p:nvSpPr>
            <p:cNvPr id="152" name="Rounded Rectangle 5">
              <a:extLst>
                <a:ext uri="{FF2B5EF4-FFF2-40B4-BE49-F238E27FC236}">
                  <a16:creationId xmlns:a16="http://schemas.microsoft.com/office/drawing/2014/main" id="{741CD53E-A137-4BD5-B7B0-92CF0496AC6B}"/>
                </a:ext>
              </a:extLst>
            </p:cNvPr>
            <p:cNvSpPr/>
            <p:nvPr/>
          </p:nvSpPr>
          <p:spPr bwMode="auto">
            <a:xfrm>
              <a:off x="8186320" y="277922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3" name="Rounded Rectangle 6">
              <a:extLst>
                <a:ext uri="{FF2B5EF4-FFF2-40B4-BE49-F238E27FC236}">
                  <a16:creationId xmlns:a16="http://schemas.microsoft.com/office/drawing/2014/main" id="{A1150B0E-E6F8-4D07-BC3C-EE7FC586529C}"/>
                </a:ext>
              </a:extLst>
            </p:cNvPr>
            <p:cNvSpPr/>
            <p:nvPr/>
          </p:nvSpPr>
          <p:spPr bwMode="auto">
            <a:xfrm>
              <a:off x="8700727" y="277922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4" name="Rounded Rectangle 7">
              <a:extLst>
                <a:ext uri="{FF2B5EF4-FFF2-40B4-BE49-F238E27FC236}">
                  <a16:creationId xmlns:a16="http://schemas.microsoft.com/office/drawing/2014/main" id="{8B5E7247-9F30-4F58-BC21-3A8968B00598}"/>
                </a:ext>
              </a:extLst>
            </p:cNvPr>
            <p:cNvSpPr/>
            <p:nvPr/>
          </p:nvSpPr>
          <p:spPr bwMode="auto">
            <a:xfrm>
              <a:off x="9215134" y="17616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ounded Rectangle 8">
              <a:extLst>
                <a:ext uri="{FF2B5EF4-FFF2-40B4-BE49-F238E27FC236}">
                  <a16:creationId xmlns:a16="http://schemas.microsoft.com/office/drawing/2014/main" id="{7C843576-073F-4388-BBBD-DCACD726CB9B}"/>
                </a:ext>
              </a:extLst>
            </p:cNvPr>
            <p:cNvSpPr/>
            <p:nvPr/>
          </p:nvSpPr>
          <p:spPr bwMode="auto">
            <a:xfrm>
              <a:off x="9729541" y="176164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Rounded Rectangle 9">
              <a:extLst>
                <a:ext uri="{FF2B5EF4-FFF2-40B4-BE49-F238E27FC236}">
                  <a16:creationId xmlns:a16="http://schemas.microsoft.com/office/drawing/2014/main" id="{45CB03BE-7883-4BA3-A3A5-C2E7D36AE7F6}"/>
                </a:ext>
              </a:extLst>
            </p:cNvPr>
            <p:cNvSpPr/>
            <p:nvPr/>
          </p:nvSpPr>
          <p:spPr bwMode="auto">
            <a:xfrm>
              <a:off x="10258425" y="1761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Rounded Rectangle 13">
              <a:extLst>
                <a:ext uri="{FF2B5EF4-FFF2-40B4-BE49-F238E27FC236}">
                  <a16:creationId xmlns:a16="http://schemas.microsoft.com/office/drawing/2014/main" id="{3BAF7EA3-9227-49B4-A4E7-1CC2137D136F}"/>
                </a:ext>
              </a:extLst>
            </p:cNvPr>
            <p:cNvSpPr/>
            <p:nvPr/>
          </p:nvSpPr>
          <p:spPr bwMode="auto">
            <a:xfrm>
              <a:off x="7671913" y="328900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Rounded Rectangle 14">
              <a:extLst>
                <a:ext uri="{FF2B5EF4-FFF2-40B4-BE49-F238E27FC236}">
                  <a16:creationId xmlns:a16="http://schemas.microsoft.com/office/drawing/2014/main" id="{6D2B6AD7-7C7C-4D94-98C4-DF9851871310}"/>
                </a:ext>
              </a:extLst>
            </p:cNvPr>
            <p:cNvSpPr/>
            <p:nvPr/>
          </p:nvSpPr>
          <p:spPr bwMode="auto">
            <a:xfrm>
              <a:off x="8186320" y="227142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Rounded Rectangle 15">
              <a:extLst>
                <a:ext uri="{FF2B5EF4-FFF2-40B4-BE49-F238E27FC236}">
                  <a16:creationId xmlns:a16="http://schemas.microsoft.com/office/drawing/2014/main" id="{035678AE-A1A0-4AEC-BEA5-20596B0DBB4C}"/>
                </a:ext>
              </a:extLst>
            </p:cNvPr>
            <p:cNvSpPr/>
            <p:nvPr/>
          </p:nvSpPr>
          <p:spPr bwMode="auto">
            <a:xfrm>
              <a:off x="8700727" y="227142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Rounded Rectangle 16">
              <a:extLst>
                <a:ext uri="{FF2B5EF4-FFF2-40B4-BE49-F238E27FC236}">
                  <a16:creationId xmlns:a16="http://schemas.microsoft.com/office/drawing/2014/main" id="{F9458AEF-721B-45E9-8EC3-93FFEED94D0B}"/>
                </a:ext>
              </a:extLst>
            </p:cNvPr>
            <p:cNvSpPr/>
            <p:nvPr/>
          </p:nvSpPr>
          <p:spPr bwMode="auto">
            <a:xfrm>
              <a:off x="9215134" y="227142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Rounded Rectangle 17">
              <a:extLst>
                <a:ext uri="{FF2B5EF4-FFF2-40B4-BE49-F238E27FC236}">
                  <a16:creationId xmlns:a16="http://schemas.microsoft.com/office/drawing/2014/main" id="{9F20EB41-AC6B-49FA-8D09-0DE87A985112}"/>
                </a:ext>
              </a:extLst>
            </p:cNvPr>
            <p:cNvSpPr/>
            <p:nvPr/>
          </p:nvSpPr>
          <p:spPr bwMode="auto">
            <a:xfrm>
              <a:off x="9729541" y="227142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Rounded Rectangle 18">
              <a:extLst>
                <a:ext uri="{FF2B5EF4-FFF2-40B4-BE49-F238E27FC236}">
                  <a16:creationId xmlns:a16="http://schemas.microsoft.com/office/drawing/2014/main" id="{A68620B9-CF8A-45D5-B3FD-2BD15BCAF685}"/>
                </a:ext>
              </a:extLst>
            </p:cNvPr>
            <p:cNvSpPr/>
            <p:nvPr/>
          </p:nvSpPr>
          <p:spPr bwMode="auto">
            <a:xfrm>
              <a:off x="10243948" y="227142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ounded Rectangle 24">
              <a:extLst>
                <a:ext uri="{FF2B5EF4-FFF2-40B4-BE49-F238E27FC236}">
                  <a16:creationId xmlns:a16="http://schemas.microsoft.com/office/drawing/2014/main" id="{AA9840D4-9D75-4EE1-9BE4-E0CFB0CAFF9F}"/>
                </a:ext>
              </a:extLst>
            </p:cNvPr>
            <p:cNvSpPr/>
            <p:nvPr/>
          </p:nvSpPr>
          <p:spPr bwMode="auto">
            <a:xfrm>
              <a:off x="9215134" y="278120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ounded Rectangle 25">
              <a:extLst>
                <a:ext uri="{FF2B5EF4-FFF2-40B4-BE49-F238E27FC236}">
                  <a16:creationId xmlns:a16="http://schemas.microsoft.com/office/drawing/2014/main" id="{3CE26340-7F94-4B9E-B0EB-E1F9BC138B76}"/>
                </a:ext>
              </a:extLst>
            </p:cNvPr>
            <p:cNvSpPr/>
            <p:nvPr/>
          </p:nvSpPr>
          <p:spPr bwMode="auto">
            <a:xfrm>
              <a:off x="9729541" y="278120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Rounded Rectangle 26">
              <a:extLst>
                <a:ext uri="{FF2B5EF4-FFF2-40B4-BE49-F238E27FC236}">
                  <a16:creationId xmlns:a16="http://schemas.microsoft.com/office/drawing/2014/main" id="{79972BA6-9ECE-4ABF-96EA-F3414A29BF9B}"/>
                </a:ext>
              </a:extLst>
            </p:cNvPr>
            <p:cNvSpPr/>
            <p:nvPr/>
          </p:nvSpPr>
          <p:spPr bwMode="auto">
            <a:xfrm>
              <a:off x="10243948" y="278120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Rounded Rectangle 38">
              <a:extLst>
                <a:ext uri="{FF2B5EF4-FFF2-40B4-BE49-F238E27FC236}">
                  <a16:creationId xmlns:a16="http://schemas.microsoft.com/office/drawing/2014/main" id="{1807A644-48C9-4E73-80BD-2A24C59E8754}"/>
                </a:ext>
              </a:extLst>
            </p:cNvPr>
            <p:cNvSpPr/>
            <p:nvPr/>
          </p:nvSpPr>
          <p:spPr bwMode="auto">
            <a:xfrm>
              <a:off x="8186320" y="32909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Rounded Rectangle 39">
              <a:extLst>
                <a:ext uri="{FF2B5EF4-FFF2-40B4-BE49-F238E27FC236}">
                  <a16:creationId xmlns:a16="http://schemas.microsoft.com/office/drawing/2014/main" id="{DD96E349-404A-4759-86ED-BC4D3A8C6942}"/>
                </a:ext>
              </a:extLst>
            </p:cNvPr>
            <p:cNvSpPr/>
            <p:nvPr/>
          </p:nvSpPr>
          <p:spPr bwMode="auto">
            <a:xfrm>
              <a:off x="8700727" y="329098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8" name="Rounded Rectangle 40">
              <a:extLst>
                <a:ext uri="{FF2B5EF4-FFF2-40B4-BE49-F238E27FC236}">
                  <a16:creationId xmlns:a16="http://schemas.microsoft.com/office/drawing/2014/main" id="{B09C59A9-7B92-46C1-843E-1D9A800CE213}"/>
                </a:ext>
              </a:extLst>
            </p:cNvPr>
            <p:cNvSpPr/>
            <p:nvPr/>
          </p:nvSpPr>
          <p:spPr bwMode="auto">
            <a:xfrm>
              <a:off x="9215134" y="32909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Rounded Rectangle 41">
              <a:extLst>
                <a:ext uri="{FF2B5EF4-FFF2-40B4-BE49-F238E27FC236}">
                  <a16:creationId xmlns:a16="http://schemas.microsoft.com/office/drawing/2014/main" id="{6F32E397-F908-4CD2-8BFA-C1CE2DFB9C27}"/>
                </a:ext>
              </a:extLst>
            </p:cNvPr>
            <p:cNvSpPr/>
            <p:nvPr/>
          </p:nvSpPr>
          <p:spPr bwMode="auto">
            <a:xfrm>
              <a:off x="9729541" y="32909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Rounded Rectangle 42">
              <a:extLst>
                <a:ext uri="{FF2B5EF4-FFF2-40B4-BE49-F238E27FC236}">
                  <a16:creationId xmlns:a16="http://schemas.microsoft.com/office/drawing/2014/main" id="{F9216AFF-1422-4123-BC86-7E9C4BA3A97A}"/>
                </a:ext>
              </a:extLst>
            </p:cNvPr>
            <p:cNvSpPr/>
            <p:nvPr/>
          </p:nvSpPr>
          <p:spPr bwMode="auto">
            <a:xfrm>
              <a:off x="10243948" y="329097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1" name="Rounded Rectangle 43">
              <a:extLst>
                <a:ext uri="{FF2B5EF4-FFF2-40B4-BE49-F238E27FC236}">
                  <a16:creationId xmlns:a16="http://schemas.microsoft.com/office/drawing/2014/main" id="{64AAE34F-8874-46A7-B8AD-396528979DAA}"/>
                </a:ext>
              </a:extLst>
            </p:cNvPr>
            <p:cNvSpPr/>
            <p:nvPr/>
          </p:nvSpPr>
          <p:spPr bwMode="auto">
            <a:xfrm>
              <a:off x="6643098"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Rounded Rectangle 44">
              <a:extLst>
                <a:ext uri="{FF2B5EF4-FFF2-40B4-BE49-F238E27FC236}">
                  <a16:creationId xmlns:a16="http://schemas.microsoft.com/office/drawing/2014/main" id="{8DBEED27-1A1F-4EE2-BB1E-13FE66B467AD}"/>
                </a:ext>
              </a:extLst>
            </p:cNvPr>
            <p:cNvSpPr/>
            <p:nvPr/>
          </p:nvSpPr>
          <p:spPr bwMode="auto">
            <a:xfrm>
              <a:off x="7157506"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Rounded Rectangle 45">
              <a:extLst>
                <a:ext uri="{FF2B5EF4-FFF2-40B4-BE49-F238E27FC236}">
                  <a16:creationId xmlns:a16="http://schemas.microsoft.com/office/drawing/2014/main" id="{E46FFB36-F257-4D2E-914C-38F27040607C}"/>
                </a:ext>
              </a:extLst>
            </p:cNvPr>
            <p:cNvSpPr/>
            <p:nvPr/>
          </p:nvSpPr>
          <p:spPr bwMode="auto">
            <a:xfrm>
              <a:off x="7671913" y="380076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Rounded Rectangle 46">
              <a:extLst>
                <a:ext uri="{FF2B5EF4-FFF2-40B4-BE49-F238E27FC236}">
                  <a16:creationId xmlns:a16="http://schemas.microsoft.com/office/drawing/2014/main" id="{EEE2F1E2-7062-4AD5-B920-D0AE3894B3E0}"/>
                </a:ext>
              </a:extLst>
            </p:cNvPr>
            <p:cNvSpPr/>
            <p:nvPr/>
          </p:nvSpPr>
          <p:spPr bwMode="auto">
            <a:xfrm>
              <a:off x="8186320" y="380076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Rounded Rectangle 47">
              <a:extLst>
                <a:ext uri="{FF2B5EF4-FFF2-40B4-BE49-F238E27FC236}">
                  <a16:creationId xmlns:a16="http://schemas.microsoft.com/office/drawing/2014/main" id="{2788AC34-0C16-4CE3-9F1E-69F6B5E869FE}"/>
                </a:ext>
              </a:extLst>
            </p:cNvPr>
            <p:cNvSpPr/>
            <p:nvPr/>
          </p:nvSpPr>
          <p:spPr bwMode="auto">
            <a:xfrm>
              <a:off x="8700727" y="380076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Rounded Rectangle 48">
              <a:extLst>
                <a:ext uri="{FF2B5EF4-FFF2-40B4-BE49-F238E27FC236}">
                  <a16:creationId xmlns:a16="http://schemas.microsoft.com/office/drawing/2014/main" id="{5724E805-515F-468E-B6B9-FDDBB5BAEE91}"/>
                </a:ext>
              </a:extLst>
            </p:cNvPr>
            <p:cNvSpPr/>
            <p:nvPr/>
          </p:nvSpPr>
          <p:spPr bwMode="auto">
            <a:xfrm>
              <a:off x="9215134" y="380076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ounded Rectangle 49">
              <a:extLst>
                <a:ext uri="{FF2B5EF4-FFF2-40B4-BE49-F238E27FC236}">
                  <a16:creationId xmlns:a16="http://schemas.microsoft.com/office/drawing/2014/main" id="{67F8EDAF-869F-4F6E-80E7-AEB9664DFF95}"/>
                </a:ext>
              </a:extLst>
            </p:cNvPr>
            <p:cNvSpPr/>
            <p:nvPr/>
          </p:nvSpPr>
          <p:spPr bwMode="auto">
            <a:xfrm>
              <a:off x="9729541" y="380076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Rounded Rectangle 50">
              <a:extLst>
                <a:ext uri="{FF2B5EF4-FFF2-40B4-BE49-F238E27FC236}">
                  <a16:creationId xmlns:a16="http://schemas.microsoft.com/office/drawing/2014/main" id="{05240B6A-8344-4F17-A82E-B3756DBCE031}"/>
                </a:ext>
              </a:extLst>
            </p:cNvPr>
            <p:cNvSpPr/>
            <p:nvPr/>
          </p:nvSpPr>
          <p:spPr bwMode="auto">
            <a:xfrm>
              <a:off x="10243948" y="380076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9" name="Rounded Rectangle 51">
              <a:extLst>
                <a:ext uri="{FF2B5EF4-FFF2-40B4-BE49-F238E27FC236}">
                  <a16:creationId xmlns:a16="http://schemas.microsoft.com/office/drawing/2014/main" id="{05A91D0E-1D10-4C23-9EDC-629DA2D8D462}"/>
                </a:ext>
              </a:extLst>
            </p:cNvPr>
            <p:cNvSpPr/>
            <p:nvPr/>
          </p:nvSpPr>
          <p:spPr bwMode="auto">
            <a:xfrm>
              <a:off x="6643098"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0" name="Rounded Rectangle 52">
              <a:extLst>
                <a:ext uri="{FF2B5EF4-FFF2-40B4-BE49-F238E27FC236}">
                  <a16:creationId xmlns:a16="http://schemas.microsoft.com/office/drawing/2014/main" id="{CD5295A8-323E-4F22-A97F-518946886565}"/>
                </a:ext>
              </a:extLst>
            </p:cNvPr>
            <p:cNvSpPr/>
            <p:nvPr/>
          </p:nvSpPr>
          <p:spPr bwMode="auto">
            <a:xfrm>
              <a:off x="7157506"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Rounded Rectangle 53">
              <a:extLst>
                <a:ext uri="{FF2B5EF4-FFF2-40B4-BE49-F238E27FC236}">
                  <a16:creationId xmlns:a16="http://schemas.microsoft.com/office/drawing/2014/main" id="{FA95B331-8216-40C6-9BCC-91B5C3D7C7F0}"/>
                </a:ext>
              </a:extLst>
            </p:cNvPr>
            <p:cNvSpPr/>
            <p:nvPr/>
          </p:nvSpPr>
          <p:spPr bwMode="auto">
            <a:xfrm>
              <a:off x="7671913"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Rounded Rectangle 54">
              <a:extLst>
                <a:ext uri="{FF2B5EF4-FFF2-40B4-BE49-F238E27FC236}">
                  <a16:creationId xmlns:a16="http://schemas.microsoft.com/office/drawing/2014/main" id="{C16577D1-6BD5-4B0D-B184-D5F71DD7CAF2}"/>
                </a:ext>
              </a:extLst>
            </p:cNvPr>
            <p:cNvSpPr/>
            <p:nvPr/>
          </p:nvSpPr>
          <p:spPr bwMode="auto">
            <a:xfrm>
              <a:off x="8186320" y="431054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Rounded Rectangle 55">
              <a:extLst>
                <a:ext uri="{FF2B5EF4-FFF2-40B4-BE49-F238E27FC236}">
                  <a16:creationId xmlns:a16="http://schemas.microsoft.com/office/drawing/2014/main" id="{0B80A6BD-E2DE-40E1-81FE-718752FFE740}"/>
                </a:ext>
              </a:extLst>
            </p:cNvPr>
            <p:cNvSpPr/>
            <p:nvPr/>
          </p:nvSpPr>
          <p:spPr bwMode="auto">
            <a:xfrm>
              <a:off x="8700727" y="43105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Rounded Rectangle 56">
              <a:extLst>
                <a:ext uri="{FF2B5EF4-FFF2-40B4-BE49-F238E27FC236}">
                  <a16:creationId xmlns:a16="http://schemas.microsoft.com/office/drawing/2014/main" id="{4C80C27A-AEF8-4F35-9576-C3B98FB4BBDF}"/>
                </a:ext>
              </a:extLst>
            </p:cNvPr>
            <p:cNvSpPr/>
            <p:nvPr/>
          </p:nvSpPr>
          <p:spPr bwMode="auto">
            <a:xfrm>
              <a:off x="9215134" y="43105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Rounded Rectangle 57">
              <a:extLst>
                <a:ext uri="{FF2B5EF4-FFF2-40B4-BE49-F238E27FC236}">
                  <a16:creationId xmlns:a16="http://schemas.microsoft.com/office/drawing/2014/main" id="{56069F72-16C2-4D50-A0B0-981C4B40262B}"/>
                </a:ext>
              </a:extLst>
            </p:cNvPr>
            <p:cNvSpPr/>
            <p:nvPr/>
          </p:nvSpPr>
          <p:spPr bwMode="auto">
            <a:xfrm>
              <a:off x="9729541" y="431054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Rounded Rectangle 58">
              <a:extLst>
                <a:ext uri="{FF2B5EF4-FFF2-40B4-BE49-F238E27FC236}">
                  <a16:creationId xmlns:a16="http://schemas.microsoft.com/office/drawing/2014/main" id="{22A85ABE-DE33-4992-857C-646272D7413C}"/>
                </a:ext>
              </a:extLst>
            </p:cNvPr>
            <p:cNvSpPr/>
            <p:nvPr/>
          </p:nvSpPr>
          <p:spPr bwMode="auto">
            <a:xfrm>
              <a:off x="10243948" y="431054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Rounded Rectangle 59">
              <a:extLst>
                <a:ext uri="{FF2B5EF4-FFF2-40B4-BE49-F238E27FC236}">
                  <a16:creationId xmlns:a16="http://schemas.microsoft.com/office/drawing/2014/main" id="{6730F06D-54AC-44C5-BD14-C902B6E8685F}"/>
                </a:ext>
              </a:extLst>
            </p:cNvPr>
            <p:cNvSpPr/>
            <p:nvPr/>
          </p:nvSpPr>
          <p:spPr bwMode="auto">
            <a:xfrm>
              <a:off x="6635634"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Rounded Rectangle 60">
              <a:extLst>
                <a:ext uri="{FF2B5EF4-FFF2-40B4-BE49-F238E27FC236}">
                  <a16:creationId xmlns:a16="http://schemas.microsoft.com/office/drawing/2014/main" id="{9F18DE27-D3FD-4D20-90CF-1ADAC8E6C469}"/>
                </a:ext>
              </a:extLst>
            </p:cNvPr>
            <p:cNvSpPr/>
            <p:nvPr/>
          </p:nvSpPr>
          <p:spPr bwMode="auto">
            <a:xfrm>
              <a:off x="7150041"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ounded Rectangle 61">
              <a:extLst>
                <a:ext uri="{FF2B5EF4-FFF2-40B4-BE49-F238E27FC236}">
                  <a16:creationId xmlns:a16="http://schemas.microsoft.com/office/drawing/2014/main" id="{DA661F64-0D54-4A14-B1AA-D2BBBDBE5F43}"/>
                </a:ext>
              </a:extLst>
            </p:cNvPr>
            <p:cNvSpPr/>
            <p:nvPr/>
          </p:nvSpPr>
          <p:spPr bwMode="auto">
            <a:xfrm>
              <a:off x="7664448" y="482031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Rounded Rectangle 62">
              <a:extLst>
                <a:ext uri="{FF2B5EF4-FFF2-40B4-BE49-F238E27FC236}">
                  <a16:creationId xmlns:a16="http://schemas.microsoft.com/office/drawing/2014/main" id="{0A0766BE-0098-480F-8226-F64DEB5163E9}"/>
                </a:ext>
              </a:extLst>
            </p:cNvPr>
            <p:cNvSpPr/>
            <p:nvPr/>
          </p:nvSpPr>
          <p:spPr bwMode="auto">
            <a:xfrm>
              <a:off x="8178855" y="482031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1" name="Rounded Rectangle 63">
              <a:extLst>
                <a:ext uri="{FF2B5EF4-FFF2-40B4-BE49-F238E27FC236}">
                  <a16:creationId xmlns:a16="http://schemas.microsoft.com/office/drawing/2014/main" id="{43CD3BA0-7449-4881-A64A-8B8DB6AC7002}"/>
                </a:ext>
              </a:extLst>
            </p:cNvPr>
            <p:cNvSpPr/>
            <p:nvPr/>
          </p:nvSpPr>
          <p:spPr bwMode="auto">
            <a:xfrm>
              <a:off x="8693262" y="482031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Rounded Rectangle 64">
              <a:extLst>
                <a:ext uri="{FF2B5EF4-FFF2-40B4-BE49-F238E27FC236}">
                  <a16:creationId xmlns:a16="http://schemas.microsoft.com/office/drawing/2014/main" id="{6BEAF858-9576-45D7-84B2-170673F8B396}"/>
                </a:ext>
              </a:extLst>
            </p:cNvPr>
            <p:cNvSpPr/>
            <p:nvPr/>
          </p:nvSpPr>
          <p:spPr bwMode="auto">
            <a:xfrm>
              <a:off x="9207669" y="482031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Rounded Rectangle 65">
              <a:extLst>
                <a:ext uri="{FF2B5EF4-FFF2-40B4-BE49-F238E27FC236}">
                  <a16:creationId xmlns:a16="http://schemas.microsoft.com/office/drawing/2014/main" id="{DD015EA5-B5F9-4FC9-B3D8-F8B85810D38D}"/>
                </a:ext>
              </a:extLst>
            </p:cNvPr>
            <p:cNvSpPr/>
            <p:nvPr/>
          </p:nvSpPr>
          <p:spPr bwMode="auto">
            <a:xfrm>
              <a:off x="9722077" y="482031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Rounded Rectangle 66">
              <a:extLst>
                <a:ext uri="{FF2B5EF4-FFF2-40B4-BE49-F238E27FC236}">
                  <a16:creationId xmlns:a16="http://schemas.microsoft.com/office/drawing/2014/main" id="{1C6315FF-7A72-4BC5-8BB0-1EA127B9E138}"/>
                </a:ext>
              </a:extLst>
            </p:cNvPr>
            <p:cNvSpPr/>
            <p:nvPr/>
          </p:nvSpPr>
          <p:spPr bwMode="auto">
            <a:xfrm>
              <a:off x="10236484" y="482031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Rounded Rectangle 69">
              <a:extLst>
                <a:ext uri="{FF2B5EF4-FFF2-40B4-BE49-F238E27FC236}">
                  <a16:creationId xmlns:a16="http://schemas.microsoft.com/office/drawing/2014/main" id="{611BB34C-C983-4208-AAA1-54687A655F9B}"/>
                </a:ext>
              </a:extLst>
            </p:cNvPr>
            <p:cNvSpPr/>
            <p:nvPr/>
          </p:nvSpPr>
          <p:spPr bwMode="auto">
            <a:xfrm>
              <a:off x="6635634"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ounded Rectangle 70">
              <a:extLst>
                <a:ext uri="{FF2B5EF4-FFF2-40B4-BE49-F238E27FC236}">
                  <a16:creationId xmlns:a16="http://schemas.microsoft.com/office/drawing/2014/main" id="{FCB3A994-5299-4DD5-808C-27C811EAE103}"/>
                </a:ext>
              </a:extLst>
            </p:cNvPr>
            <p:cNvSpPr/>
            <p:nvPr/>
          </p:nvSpPr>
          <p:spPr bwMode="auto">
            <a:xfrm>
              <a:off x="7150042"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Rounded Rectangle 71">
              <a:extLst>
                <a:ext uri="{FF2B5EF4-FFF2-40B4-BE49-F238E27FC236}">
                  <a16:creationId xmlns:a16="http://schemas.microsoft.com/office/drawing/2014/main" id="{3C4EAA4C-1C08-439D-BFF2-F3C3116C8C09}"/>
                </a:ext>
              </a:extLst>
            </p:cNvPr>
            <p:cNvSpPr/>
            <p:nvPr/>
          </p:nvSpPr>
          <p:spPr bwMode="auto">
            <a:xfrm>
              <a:off x="7664449" y="533009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Rounded Rectangle 72">
              <a:extLst>
                <a:ext uri="{FF2B5EF4-FFF2-40B4-BE49-F238E27FC236}">
                  <a16:creationId xmlns:a16="http://schemas.microsoft.com/office/drawing/2014/main" id="{A8184BD5-5A5C-4644-8208-B00FFB5384FC}"/>
                </a:ext>
              </a:extLst>
            </p:cNvPr>
            <p:cNvSpPr/>
            <p:nvPr/>
          </p:nvSpPr>
          <p:spPr bwMode="auto">
            <a:xfrm>
              <a:off x="8178856" y="533009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Rounded Rectangle 73">
              <a:extLst>
                <a:ext uri="{FF2B5EF4-FFF2-40B4-BE49-F238E27FC236}">
                  <a16:creationId xmlns:a16="http://schemas.microsoft.com/office/drawing/2014/main" id="{2FCC575D-91C3-4B86-B27B-7CF0028581BA}"/>
                </a:ext>
              </a:extLst>
            </p:cNvPr>
            <p:cNvSpPr/>
            <p:nvPr/>
          </p:nvSpPr>
          <p:spPr bwMode="auto">
            <a:xfrm>
              <a:off x="8693263" y="533008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Rounded Rectangle 74">
              <a:extLst>
                <a:ext uri="{FF2B5EF4-FFF2-40B4-BE49-F238E27FC236}">
                  <a16:creationId xmlns:a16="http://schemas.microsoft.com/office/drawing/2014/main" id="{067B4E8F-AE4B-41FE-B0BC-37C804125640}"/>
                </a:ext>
              </a:extLst>
            </p:cNvPr>
            <p:cNvSpPr/>
            <p:nvPr/>
          </p:nvSpPr>
          <p:spPr bwMode="auto">
            <a:xfrm>
              <a:off x="9207670" y="533008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1" name="Rounded Rectangle 75">
              <a:extLst>
                <a:ext uri="{FF2B5EF4-FFF2-40B4-BE49-F238E27FC236}">
                  <a16:creationId xmlns:a16="http://schemas.microsoft.com/office/drawing/2014/main" id="{626BB9A0-6467-4AF8-B594-654C66CD3516}"/>
                </a:ext>
              </a:extLst>
            </p:cNvPr>
            <p:cNvSpPr/>
            <p:nvPr/>
          </p:nvSpPr>
          <p:spPr bwMode="auto">
            <a:xfrm>
              <a:off x="9722077" y="533008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Rounded Rectangle 76">
              <a:extLst>
                <a:ext uri="{FF2B5EF4-FFF2-40B4-BE49-F238E27FC236}">
                  <a16:creationId xmlns:a16="http://schemas.microsoft.com/office/drawing/2014/main" id="{E4A26854-28CB-4869-807B-4CAC8EF9BD16}"/>
                </a:ext>
              </a:extLst>
            </p:cNvPr>
            <p:cNvSpPr/>
            <p:nvPr/>
          </p:nvSpPr>
          <p:spPr bwMode="auto">
            <a:xfrm>
              <a:off x="10236484" y="533008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Rounded Rectangle 77">
              <a:extLst>
                <a:ext uri="{FF2B5EF4-FFF2-40B4-BE49-F238E27FC236}">
                  <a16:creationId xmlns:a16="http://schemas.microsoft.com/office/drawing/2014/main" id="{18A89D3C-D560-4B01-BD11-84D9D44769CD}"/>
                </a:ext>
              </a:extLst>
            </p:cNvPr>
            <p:cNvSpPr/>
            <p:nvPr/>
          </p:nvSpPr>
          <p:spPr bwMode="auto">
            <a:xfrm>
              <a:off x="6635634" y="583987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Rounded Rectangle 78">
              <a:extLst>
                <a:ext uri="{FF2B5EF4-FFF2-40B4-BE49-F238E27FC236}">
                  <a16:creationId xmlns:a16="http://schemas.microsoft.com/office/drawing/2014/main" id="{CF5CF69C-48D8-49DC-8B6F-A7944747C036}"/>
                </a:ext>
              </a:extLst>
            </p:cNvPr>
            <p:cNvSpPr/>
            <p:nvPr/>
          </p:nvSpPr>
          <p:spPr bwMode="auto">
            <a:xfrm>
              <a:off x="7150042"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Rounded Rectangle 79">
              <a:extLst>
                <a:ext uri="{FF2B5EF4-FFF2-40B4-BE49-F238E27FC236}">
                  <a16:creationId xmlns:a16="http://schemas.microsoft.com/office/drawing/2014/main" id="{0131BB1E-34A2-417D-9BD1-9CD1A19D5B8E}"/>
                </a:ext>
              </a:extLst>
            </p:cNvPr>
            <p:cNvSpPr/>
            <p:nvPr/>
          </p:nvSpPr>
          <p:spPr bwMode="auto">
            <a:xfrm>
              <a:off x="7664449"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Rounded Rectangle 80">
              <a:extLst>
                <a:ext uri="{FF2B5EF4-FFF2-40B4-BE49-F238E27FC236}">
                  <a16:creationId xmlns:a16="http://schemas.microsoft.com/office/drawing/2014/main" id="{3FC0A518-6B4E-4EB6-9B4C-EADE9AC4E531}"/>
                </a:ext>
              </a:extLst>
            </p:cNvPr>
            <p:cNvSpPr/>
            <p:nvPr/>
          </p:nvSpPr>
          <p:spPr bwMode="auto">
            <a:xfrm>
              <a:off x="8178856" y="583986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ounded Rectangle 81">
              <a:extLst>
                <a:ext uri="{FF2B5EF4-FFF2-40B4-BE49-F238E27FC236}">
                  <a16:creationId xmlns:a16="http://schemas.microsoft.com/office/drawing/2014/main" id="{3DC22766-109F-4FD4-8B4C-08F54A8DCB43}"/>
                </a:ext>
              </a:extLst>
            </p:cNvPr>
            <p:cNvSpPr/>
            <p:nvPr/>
          </p:nvSpPr>
          <p:spPr bwMode="auto">
            <a:xfrm>
              <a:off x="8693263" y="583986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ounded Rectangle 82">
              <a:extLst>
                <a:ext uri="{FF2B5EF4-FFF2-40B4-BE49-F238E27FC236}">
                  <a16:creationId xmlns:a16="http://schemas.microsoft.com/office/drawing/2014/main" id="{5777C7FB-CF0B-4F9F-9612-25DB96636497}"/>
                </a:ext>
              </a:extLst>
            </p:cNvPr>
            <p:cNvSpPr/>
            <p:nvPr/>
          </p:nvSpPr>
          <p:spPr bwMode="auto">
            <a:xfrm>
              <a:off x="9207670" y="583986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ounded Rectangle 83">
              <a:extLst>
                <a:ext uri="{FF2B5EF4-FFF2-40B4-BE49-F238E27FC236}">
                  <a16:creationId xmlns:a16="http://schemas.microsoft.com/office/drawing/2014/main" id="{18C68559-9151-418B-94DA-A652B7781047}"/>
                </a:ext>
              </a:extLst>
            </p:cNvPr>
            <p:cNvSpPr/>
            <p:nvPr/>
          </p:nvSpPr>
          <p:spPr bwMode="auto">
            <a:xfrm>
              <a:off x="9722077" y="583986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ounded Rectangle 84">
              <a:extLst>
                <a:ext uri="{FF2B5EF4-FFF2-40B4-BE49-F238E27FC236}">
                  <a16:creationId xmlns:a16="http://schemas.microsoft.com/office/drawing/2014/main" id="{8DD03553-F129-48ED-AAAC-E8AE9280F316}"/>
                </a:ext>
              </a:extLst>
            </p:cNvPr>
            <p:cNvSpPr/>
            <p:nvPr/>
          </p:nvSpPr>
          <p:spPr bwMode="auto">
            <a:xfrm>
              <a:off x="10236484" y="583986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Rounded Rectangle 85">
              <a:extLst>
                <a:ext uri="{FF2B5EF4-FFF2-40B4-BE49-F238E27FC236}">
                  <a16:creationId xmlns:a16="http://schemas.microsoft.com/office/drawing/2014/main" id="{328B6F0E-E159-41C8-9CB1-99C986754BA6}"/>
                </a:ext>
              </a:extLst>
            </p:cNvPr>
            <p:cNvSpPr/>
            <p:nvPr/>
          </p:nvSpPr>
          <p:spPr bwMode="auto">
            <a:xfrm>
              <a:off x="6628170"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Rounded Rectangle 86">
              <a:extLst>
                <a:ext uri="{FF2B5EF4-FFF2-40B4-BE49-F238E27FC236}">
                  <a16:creationId xmlns:a16="http://schemas.microsoft.com/office/drawing/2014/main" id="{D4D18763-D14F-4F43-9786-F2EFCA11517D}"/>
                </a:ext>
              </a:extLst>
            </p:cNvPr>
            <p:cNvSpPr/>
            <p:nvPr/>
          </p:nvSpPr>
          <p:spPr bwMode="auto">
            <a:xfrm>
              <a:off x="7142577"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Rounded Rectangle 87">
              <a:extLst>
                <a:ext uri="{FF2B5EF4-FFF2-40B4-BE49-F238E27FC236}">
                  <a16:creationId xmlns:a16="http://schemas.microsoft.com/office/drawing/2014/main" id="{4432A786-9244-4C60-915F-58D93C29F784}"/>
                </a:ext>
              </a:extLst>
            </p:cNvPr>
            <p:cNvSpPr/>
            <p:nvPr/>
          </p:nvSpPr>
          <p:spPr bwMode="auto">
            <a:xfrm>
              <a:off x="7656984" y="634964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ounded Rectangle 88">
              <a:extLst>
                <a:ext uri="{FF2B5EF4-FFF2-40B4-BE49-F238E27FC236}">
                  <a16:creationId xmlns:a16="http://schemas.microsoft.com/office/drawing/2014/main" id="{08B58862-93A5-4E23-A7D9-91BCFE6DE3F2}"/>
                </a:ext>
              </a:extLst>
            </p:cNvPr>
            <p:cNvSpPr/>
            <p:nvPr/>
          </p:nvSpPr>
          <p:spPr bwMode="auto">
            <a:xfrm>
              <a:off x="8171391" y="6349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Rounded Rectangle 89">
              <a:extLst>
                <a:ext uri="{FF2B5EF4-FFF2-40B4-BE49-F238E27FC236}">
                  <a16:creationId xmlns:a16="http://schemas.microsoft.com/office/drawing/2014/main" id="{7717C681-B313-4FB3-96B8-2736FDB872C3}"/>
                </a:ext>
              </a:extLst>
            </p:cNvPr>
            <p:cNvSpPr/>
            <p:nvPr/>
          </p:nvSpPr>
          <p:spPr bwMode="auto">
            <a:xfrm>
              <a:off x="8685798" y="6349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ounded Rectangle 90">
              <a:extLst>
                <a:ext uri="{FF2B5EF4-FFF2-40B4-BE49-F238E27FC236}">
                  <a16:creationId xmlns:a16="http://schemas.microsoft.com/office/drawing/2014/main" id="{29F8A788-1CB1-4F2E-B478-97B588809870}"/>
                </a:ext>
              </a:extLst>
            </p:cNvPr>
            <p:cNvSpPr/>
            <p:nvPr/>
          </p:nvSpPr>
          <p:spPr bwMode="auto">
            <a:xfrm>
              <a:off x="9200205" y="634964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Rounded Rectangle 91">
              <a:extLst>
                <a:ext uri="{FF2B5EF4-FFF2-40B4-BE49-F238E27FC236}">
                  <a16:creationId xmlns:a16="http://schemas.microsoft.com/office/drawing/2014/main" id="{7DDE1DE8-4ED4-402F-AEB8-8CCB6D9FE3C1}"/>
                </a:ext>
              </a:extLst>
            </p:cNvPr>
            <p:cNvSpPr/>
            <p:nvPr/>
          </p:nvSpPr>
          <p:spPr bwMode="auto">
            <a:xfrm>
              <a:off x="9714613" y="634964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Rounded Rectangle 92">
              <a:extLst>
                <a:ext uri="{FF2B5EF4-FFF2-40B4-BE49-F238E27FC236}">
                  <a16:creationId xmlns:a16="http://schemas.microsoft.com/office/drawing/2014/main" id="{84F7FB90-CDB6-4A62-8440-4C794B6D8B89}"/>
                </a:ext>
              </a:extLst>
            </p:cNvPr>
            <p:cNvSpPr/>
            <p:nvPr/>
          </p:nvSpPr>
          <p:spPr bwMode="auto">
            <a:xfrm>
              <a:off x="10229020" y="634964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Rounded Rectangle 93">
              <a:extLst>
                <a:ext uri="{FF2B5EF4-FFF2-40B4-BE49-F238E27FC236}">
                  <a16:creationId xmlns:a16="http://schemas.microsoft.com/office/drawing/2014/main" id="{FA0E7AFD-B4F4-4ACB-919C-C5189F52F409}"/>
                </a:ext>
              </a:extLst>
            </p:cNvPr>
            <p:cNvSpPr/>
            <p:nvPr/>
          </p:nvSpPr>
          <p:spPr bwMode="auto">
            <a:xfrm>
              <a:off x="6649581"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Rounded Rectangle 94">
              <a:extLst>
                <a:ext uri="{FF2B5EF4-FFF2-40B4-BE49-F238E27FC236}">
                  <a16:creationId xmlns:a16="http://schemas.microsoft.com/office/drawing/2014/main" id="{A95CEE27-38B3-475B-8DCF-68F9EC4C9729}"/>
                </a:ext>
              </a:extLst>
            </p:cNvPr>
            <p:cNvSpPr/>
            <p:nvPr/>
          </p:nvSpPr>
          <p:spPr bwMode="auto">
            <a:xfrm>
              <a:off x="7163989"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Rounded Rectangle 95">
              <a:extLst>
                <a:ext uri="{FF2B5EF4-FFF2-40B4-BE49-F238E27FC236}">
                  <a16:creationId xmlns:a16="http://schemas.microsoft.com/office/drawing/2014/main" id="{4DF5DF49-4D92-453B-9DC7-2FC3B2BEDEC0}"/>
                </a:ext>
              </a:extLst>
            </p:cNvPr>
            <p:cNvSpPr/>
            <p:nvPr/>
          </p:nvSpPr>
          <p:spPr bwMode="auto">
            <a:xfrm>
              <a:off x="7678396" y="23230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Rounded Rectangle 96">
              <a:extLst>
                <a:ext uri="{FF2B5EF4-FFF2-40B4-BE49-F238E27FC236}">
                  <a16:creationId xmlns:a16="http://schemas.microsoft.com/office/drawing/2014/main" id="{0C7915B1-1EFA-4362-ACAB-40FC0C7D1714}"/>
                </a:ext>
              </a:extLst>
            </p:cNvPr>
            <p:cNvSpPr/>
            <p:nvPr/>
          </p:nvSpPr>
          <p:spPr bwMode="auto">
            <a:xfrm>
              <a:off x="8192803" y="23230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Rounded Rectangle 97">
              <a:extLst>
                <a:ext uri="{FF2B5EF4-FFF2-40B4-BE49-F238E27FC236}">
                  <a16:creationId xmlns:a16="http://schemas.microsoft.com/office/drawing/2014/main" id="{2FE0C281-BE96-4E4F-86F5-60685DF23A84}"/>
                </a:ext>
              </a:extLst>
            </p:cNvPr>
            <p:cNvSpPr/>
            <p:nvPr/>
          </p:nvSpPr>
          <p:spPr bwMode="auto">
            <a:xfrm>
              <a:off x="8707210" y="23230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ounded Rectangle 98">
              <a:extLst>
                <a:ext uri="{FF2B5EF4-FFF2-40B4-BE49-F238E27FC236}">
                  <a16:creationId xmlns:a16="http://schemas.microsoft.com/office/drawing/2014/main" id="{F1711AC7-79A5-40B2-AABE-9BD241811DC4}"/>
                </a:ext>
              </a:extLst>
            </p:cNvPr>
            <p:cNvSpPr/>
            <p:nvPr/>
          </p:nvSpPr>
          <p:spPr bwMode="auto">
            <a:xfrm>
              <a:off x="9221617" y="23230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Rounded Rectangle 99">
              <a:extLst>
                <a:ext uri="{FF2B5EF4-FFF2-40B4-BE49-F238E27FC236}">
                  <a16:creationId xmlns:a16="http://schemas.microsoft.com/office/drawing/2014/main" id="{10CE5FCC-7B68-4FAA-9B5D-F5DA679DF9DC}"/>
                </a:ext>
              </a:extLst>
            </p:cNvPr>
            <p:cNvSpPr/>
            <p:nvPr/>
          </p:nvSpPr>
          <p:spPr bwMode="auto">
            <a:xfrm>
              <a:off x="9736024" y="23229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Rounded Rectangle 100">
              <a:extLst>
                <a:ext uri="{FF2B5EF4-FFF2-40B4-BE49-F238E27FC236}">
                  <a16:creationId xmlns:a16="http://schemas.microsoft.com/office/drawing/2014/main" id="{1162B34E-B2A6-4976-B66D-F0248028B8F1}"/>
                </a:ext>
              </a:extLst>
            </p:cNvPr>
            <p:cNvSpPr/>
            <p:nvPr/>
          </p:nvSpPr>
          <p:spPr bwMode="auto">
            <a:xfrm>
              <a:off x="10250431" y="23229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Rounded Rectangle 101">
              <a:extLst>
                <a:ext uri="{FF2B5EF4-FFF2-40B4-BE49-F238E27FC236}">
                  <a16:creationId xmlns:a16="http://schemas.microsoft.com/office/drawing/2014/main" id="{2CB1AA1B-2B85-4675-938A-8CABCBB7152C}"/>
                </a:ext>
              </a:extLst>
            </p:cNvPr>
            <p:cNvSpPr/>
            <p:nvPr/>
          </p:nvSpPr>
          <p:spPr bwMode="auto">
            <a:xfrm>
              <a:off x="6649581" y="7420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Rounded Rectangle 102">
              <a:extLst>
                <a:ext uri="{FF2B5EF4-FFF2-40B4-BE49-F238E27FC236}">
                  <a16:creationId xmlns:a16="http://schemas.microsoft.com/office/drawing/2014/main" id="{5FDB2278-C3FA-4E53-A5CE-7C30263EA8A4}"/>
                </a:ext>
              </a:extLst>
            </p:cNvPr>
            <p:cNvSpPr/>
            <p:nvPr/>
          </p:nvSpPr>
          <p:spPr bwMode="auto">
            <a:xfrm>
              <a:off x="7163989"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9" name="Rounded Rectangle 103">
              <a:extLst>
                <a:ext uri="{FF2B5EF4-FFF2-40B4-BE49-F238E27FC236}">
                  <a16:creationId xmlns:a16="http://schemas.microsoft.com/office/drawing/2014/main" id="{FCFEF151-E486-444F-B05B-1250FE3DB1F9}"/>
                </a:ext>
              </a:extLst>
            </p:cNvPr>
            <p:cNvSpPr/>
            <p:nvPr/>
          </p:nvSpPr>
          <p:spPr bwMode="auto">
            <a:xfrm>
              <a:off x="7678396"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ounded Rectangle 104">
              <a:extLst>
                <a:ext uri="{FF2B5EF4-FFF2-40B4-BE49-F238E27FC236}">
                  <a16:creationId xmlns:a16="http://schemas.microsoft.com/office/drawing/2014/main" id="{F3230680-06BC-4437-8AF0-F5BBD6667E68}"/>
                </a:ext>
              </a:extLst>
            </p:cNvPr>
            <p:cNvSpPr/>
            <p:nvPr/>
          </p:nvSpPr>
          <p:spPr bwMode="auto">
            <a:xfrm>
              <a:off x="8192803" y="74208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Rounded Rectangle 105">
              <a:extLst>
                <a:ext uri="{FF2B5EF4-FFF2-40B4-BE49-F238E27FC236}">
                  <a16:creationId xmlns:a16="http://schemas.microsoft.com/office/drawing/2014/main" id="{D5A774AE-744E-48C2-952A-7A4FE70BCD56}"/>
                </a:ext>
              </a:extLst>
            </p:cNvPr>
            <p:cNvSpPr/>
            <p:nvPr/>
          </p:nvSpPr>
          <p:spPr bwMode="auto">
            <a:xfrm>
              <a:off x="8707210" y="7420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Rounded Rectangle 106">
              <a:extLst>
                <a:ext uri="{FF2B5EF4-FFF2-40B4-BE49-F238E27FC236}">
                  <a16:creationId xmlns:a16="http://schemas.microsoft.com/office/drawing/2014/main" id="{537C77E8-98C2-4B6D-9D84-582FBA7F6F4B}"/>
                </a:ext>
              </a:extLst>
            </p:cNvPr>
            <p:cNvSpPr/>
            <p:nvPr/>
          </p:nvSpPr>
          <p:spPr bwMode="auto">
            <a:xfrm>
              <a:off x="9221617" y="74207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ounded Rectangle 107">
              <a:extLst>
                <a:ext uri="{FF2B5EF4-FFF2-40B4-BE49-F238E27FC236}">
                  <a16:creationId xmlns:a16="http://schemas.microsoft.com/office/drawing/2014/main" id="{6929F66E-370E-4E6E-B483-85B5FAD91C77}"/>
                </a:ext>
              </a:extLst>
            </p:cNvPr>
            <p:cNvSpPr/>
            <p:nvPr/>
          </p:nvSpPr>
          <p:spPr bwMode="auto">
            <a:xfrm>
              <a:off x="9736024" y="74207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4" name="Rounded Rectangle 108">
              <a:extLst>
                <a:ext uri="{FF2B5EF4-FFF2-40B4-BE49-F238E27FC236}">
                  <a16:creationId xmlns:a16="http://schemas.microsoft.com/office/drawing/2014/main" id="{1321BBF9-D0FD-441A-A1FB-6C727C4B244E}"/>
                </a:ext>
              </a:extLst>
            </p:cNvPr>
            <p:cNvSpPr/>
            <p:nvPr/>
          </p:nvSpPr>
          <p:spPr bwMode="auto">
            <a:xfrm>
              <a:off x="10250431" y="74207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5" name="Rounded Rectangle 109">
              <a:extLst>
                <a:ext uri="{FF2B5EF4-FFF2-40B4-BE49-F238E27FC236}">
                  <a16:creationId xmlns:a16="http://schemas.microsoft.com/office/drawing/2014/main" id="{F0D35521-0F39-4CA1-B8E7-CB20F9CA3DBC}"/>
                </a:ext>
              </a:extLst>
            </p:cNvPr>
            <p:cNvSpPr/>
            <p:nvPr/>
          </p:nvSpPr>
          <p:spPr bwMode="auto">
            <a:xfrm>
              <a:off x="8178855" y="175867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Rounded Rectangle 110">
              <a:extLst>
                <a:ext uri="{FF2B5EF4-FFF2-40B4-BE49-F238E27FC236}">
                  <a16:creationId xmlns:a16="http://schemas.microsoft.com/office/drawing/2014/main" id="{6E4CDCA5-B684-4FFD-BAA2-FB894A4C9995}"/>
                </a:ext>
              </a:extLst>
            </p:cNvPr>
            <p:cNvSpPr/>
            <p:nvPr/>
          </p:nvSpPr>
          <p:spPr bwMode="auto">
            <a:xfrm>
              <a:off x="8693262" y="175867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7" name="Rounded Rectangle 111">
              <a:extLst>
                <a:ext uri="{FF2B5EF4-FFF2-40B4-BE49-F238E27FC236}">
                  <a16:creationId xmlns:a16="http://schemas.microsoft.com/office/drawing/2014/main" id="{610DB23E-9BE3-45A8-B057-FCA79C2E89D5}"/>
                </a:ext>
              </a:extLst>
            </p:cNvPr>
            <p:cNvSpPr/>
            <p:nvPr/>
          </p:nvSpPr>
          <p:spPr bwMode="auto">
            <a:xfrm>
              <a:off x="6635634" y="227338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Rounded Rectangle 112">
              <a:extLst>
                <a:ext uri="{FF2B5EF4-FFF2-40B4-BE49-F238E27FC236}">
                  <a16:creationId xmlns:a16="http://schemas.microsoft.com/office/drawing/2014/main" id="{08B46758-F5F6-4E7C-AA19-2C9155CD1FEA}"/>
                </a:ext>
              </a:extLst>
            </p:cNvPr>
            <p:cNvSpPr/>
            <p:nvPr/>
          </p:nvSpPr>
          <p:spPr bwMode="auto">
            <a:xfrm>
              <a:off x="7150041" y="227338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9" name="Rounded Rectangle 113">
              <a:extLst>
                <a:ext uri="{FF2B5EF4-FFF2-40B4-BE49-F238E27FC236}">
                  <a16:creationId xmlns:a16="http://schemas.microsoft.com/office/drawing/2014/main" id="{1A890133-60A2-485F-B66A-FC674F209462}"/>
                </a:ext>
              </a:extLst>
            </p:cNvPr>
            <p:cNvSpPr/>
            <p:nvPr/>
          </p:nvSpPr>
          <p:spPr bwMode="auto">
            <a:xfrm>
              <a:off x="7664447" y="227338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Rounded Rectangle 114">
              <a:extLst>
                <a:ext uri="{FF2B5EF4-FFF2-40B4-BE49-F238E27FC236}">
                  <a16:creationId xmlns:a16="http://schemas.microsoft.com/office/drawing/2014/main" id="{2C6A3B86-4EC8-4DE1-880A-F2FD3EFC10B3}"/>
                </a:ext>
              </a:extLst>
            </p:cNvPr>
            <p:cNvSpPr/>
            <p:nvPr/>
          </p:nvSpPr>
          <p:spPr bwMode="auto">
            <a:xfrm>
              <a:off x="9214152" y="125185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ounded Rectangle 115">
              <a:extLst>
                <a:ext uri="{FF2B5EF4-FFF2-40B4-BE49-F238E27FC236}">
                  <a16:creationId xmlns:a16="http://schemas.microsoft.com/office/drawing/2014/main" id="{F79D7D9B-442E-44EE-9B6C-87E5286AAC02}"/>
                </a:ext>
              </a:extLst>
            </p:cNvPr>
            <p:cNvSpPr/>
            <p:nvPr/>
          </p:nvSpPr>
          <p:spPr bwMode="auto">
            <a:xfrm>
              <a:off x="9728560" y="125185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ounded Rectangle 116">
              <a:extLst>
                <a:ext uri="{FF2B5EF4-FFF2-40B4-BE49-F238E27FC236}">
                  <a16:creationId xmlns:a16="http://schemas.microsoft.com/office/drawing/2014/main" id="{0BD1C0BA-0D40-4776-A124-E6B66EDC503B}"/>
                </a:ext>
              </a:extLst>
            </p:cNvPr>
            <p:cNvSpPr/>
            <p:nvPr/>
          </p:nvSpPr>
          <p:spPr bwMode="auto">
            <a:xfrm>
              <a:off x="10242967" y="125185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Rounded Rectangle 117">
              <a:extLst>
                <a:ext uri="{FF2B5EF4-FFF2-40B4-BE49-F238E27FC236}">
                  <a16:creationId xmlns:a16="http://schemas.microsoft.com/office/drawing/2014/main" id="{0A79D824-769E-4DFA-9898-C4D533483E9F}"/>
                </a:ext>
              </a:extLst>
            </p:cNvPr>
            <p:cNvSpPr/>
            <p:nvPr/>
          </p:nvSpPr>
          <p:spPr bwMode="auto">
            <a:xfrm>
              <a:off x="10770530" y="176164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Rounded Rectangle 118">
              <a:extLst>
                <a:ext uri="{FF2B5EF4-FFF2-40B4-BE49-F238E27FC236}">
                  <a16:creationId xmlns:a16="http://schemas.microsoft.com/office/drawing/2014/main" id="{94E1FAE5-F1FE-4D86-AB4A-F97845BBCC9A}"/>
                </a:ext>
              </a:extLst>
            </p:cNvPr>
            <p:cNvSpPr/>
            <p:nvPr/>
          </p:nvSpPr>
          <p:spPr bwMode="auto">
            <a:xfrm>
              <a:off x="11284937" y="17616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ounded Rectangle 119">
              <a:extLst>
                <a:ext uri="{FF2B5EF4-FFF2-40B4-BE49-F238E27FC236}">
                  <a16:creationId xmlns:a16="http://schemas.microsoft.com/office/drawing/2014/main" id="{59FD4A64-EA9A-4DFB-B8F7-1F14E42D67B7}"/>
                </a:ext>
              </a:extLst>
            </p:cNvPr>
            <p:cNvSpPr/>
            <p:nvPr/>
          </p:nvSpPr>
          <p:spPr bwMode="auto">
            <a:xfrm>
              <a:off x="11800864" y="176164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ounded Rectangle 120">
              <a:extLst>
                <a:ext uri="{FF2B5EF4-FFF2-40B4-BE49-F238E27FC236}">
                  <a16:creationId xmlns:a16="http://schemas.microsoft.com/office/drawing/2014/main" id="{E53200F0-5CF2-466D-A7AC-F1103736689E}"/>
                </a:ext>
              </a:extLst>
            </p:cNvPr>
            <p:cNvSpPr/>
            <p:nvPr/>
          </p:nvSpPr>
          <p:spPr bwMode="auto">
            <a:xfrm>
              <a:off x="10770530" y="2271428"/>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Rounded Rectangle 121">
              <a:extLst>
                <a:ext uri="{FF2B5EF4-FFF2-40B4-BE49-F238E27FC236}">
                  <a16:creationId xmlns:a16="http://schemas.microsoft.com/office/drawing/2014/main" id="{188119C0-3C68-4D6D-ACD7-651A78FE984E}"/>
                </a:ext>
              </a:extLst>
            </p:cNvPr>
            <p:cNvSpPr/>
            <p:nvPr/>
          </p:nvSpPr>
          <p:spPr bwMode="auto">
            <a:xfrm>
              <a:off x="11284937" y="227142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Rounded Rectangle 122">
              <a:extLst>
                <a:ext uri="{FF2B5EF4-FFF2-40B4-BE49-F238E27FC236}">
                  <a16:creationId xmlns:a16="http://schemas.microsoft.com/office/drawing/2014/main" id="{73DD1714-FFB3-4110-9963-5D4FCC91A800}"/>
                </a:ext>
              </a:extLst>
            </p:cNvPr>
            <p:cNvSpPr/>
            <p:nvPr/>
          </p:nvSpPr>
          <p:spPr bwMode="auto">
            <a:xfrm>
              <a:off x="11799344" y="227142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ounded Rectangle 123">
              <a:extLst>
                <a:ext uri="{FF2B5EF4-FFF2-40B4-BE49-F238E27FC236}">
                  <a16:creationId xmlns:a16="http://schemas.microsoft.com/office/drawing/2014/main" id="{9982A171-20C2-459C-9126-511D08C257BB}"/>
                </a:ext>
              </a:extLst>
            </p:cNvPr>
            <p:cNvSpPr/>
            <p:nvPr/>
          </p:nvSpPr>
          <p:spPr bwMode="auto">
            <a:xfrm>
              <a:off x="10770530" y="278120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ounded Rectangle 124">
              <a:extLst>
                <a:ext uri="{FF2B5EF4-FFF2-40B4-BE49-F238E27FC236}">
                  <a16:creationId xmlns:a16="http://schemas.microsoft.com/office/drawing/2014/main" id="{039D056E-33E8-4654-9A00-EEEB7CE6502A}"/>
                </a:ext>
              </a:extLst>
            </p:cNvPr>
            <p:cNvSpPr/>
            <p:nvPr/>
          </p:nvSpPr>
          <p:spPr bwMode="auto">
            <a:xfrm>
              <a:off x="11284937" y="278120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Rounded Rectangle 125">
              <a:extLst>
                <a:ext uri="{FF2B5EF4-FFF2-40B4-BE49-F238E27FC236}">
                  <a16:creationId xmlns:a16="http://schemas.microsoft.com/office/drawing/2014/main" id="{7DD98EA6-61E7-4D6B-980B-2E4AE6570C98}"/>
                </a:ext>
              </a:extLst>
            </p:cNvPr>
            <p:cNvSpPr/>
            <p:nvPr/>
          </p:nvSpPr>
          <p:spPr bwMode="auto">
            <a:xfrm>
              <a:off x="11799344" y="278120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Rounded Rectangle 126">
              <a:extLst>
                <a:ext uri="{FF2B5EF4-FFF2-40B4-BE49-F238E27FC236}">
                  <a16:creationId xmlns:a16="http://schemas.microsoft.com/office/drawing/2014/main" id="{890C886B-4B43-4515-82E5-B748F3A0989D}"/>
                </a:ext>
              </a:extLst>
            </p:cNvPr>
            <p:cNvSpPr/>
            <p:nvPr/>
          </p:nvSpPr>
          <p:spPr bwMode="auto">
            <a:xfrm>
              <a:off x="10770530" y="32909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ounded Rectangle 127">
              <a:extLst>
                <a:ext uri="{FF2B5EF4-FFF2-40B4-BE49-F238E27FC236}">
                  <a16:creationId xmlns:a16="http://schemas.microsoft.com/office/drawing/2014/main" id="{104CD2B0-9E33-45FE-A388-DC05191CFDA9}"/>
                </a:ext>
              </a:extLst>
            </p:cNvPr>
            <p:cNvSpPr/>
            <p:nvPr/>
          </p:nvSpPr>
          <p:spPr bwMode="auto">
            <a:xfrm>
              <a:off x="11284937" y="32909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ounded Rectangle 128">
              <a:extLst>
                <a:ext uri="{FF2B5EF4-FFF2-40B4-BE49-F238E27FC236}">
                  <a16:creationId xmlns:a16="http://schemas.microsoft.com/office/drawing/2014/main" id="{21B0A2E6-F9A5-4B2A-B70A-6790F132E158}"/>
                </a:ext>
              </a:extLst>
            </p:cNvPr>
            <p:cNvSpPr/>
            <p:nvPr/>
          </p:nvSpPr>
          <p:spPr bwMode="auto">
            <a:xfrm>
              <a:off x="11799344" y="32909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Rounded Rectangle 129">
              <a:extLst>
                <a:ext uri="{FF2B5EF4-FFF2-40B4-BE49-F238E27FC236}">
                  <a16:creationId xmlns:a16="http://schemas.microsoft.com/office/drawing/2014/main" id="{56B75344-3260-4202-A4CB-1608FC533FA1}"/>
                </a:ext>
              </a:extLst>
            </p:cNvPr>
            <p:cNvSpPr/>
            <p:nvPr/>
          </p:nvSpPr>
          <p:spPr bwMode="auto">
            <a:xfrm>
              <a:off x="10770530" y="380076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ounded Rectangle 130">
              <a:extLst>
                <a:ext uri="{FF2B5EF4-FFF2-40B4-BE49-F238E27FC236}">
                  <a16:creationId xmlns:a16="http://schemas.microsoft.com/office/drawing/2014/main" id="{C73F62D4-CD38-4878-9166-74133166B0C5}"/>
                </a:ext>
              </a:extLst>
            </p:cNvPr>
            <p:cNvSpPr/>
            <p:nvPr/>
          </p:nvSpPr>
          <p:spPr bwMode="auto">
            <a:xfrm>
              <a:off x="11284937"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ounded Rectangle 131">
              <a:extLst>
                <a:ext uri="{FF2B5EF4-FFF2-40B4-BE49-F238E27FC236}">
                  <a16:creationId xmlns:a16="http://schemas.microsoft.com/office/drawing/2014/main" id="{FF924EC0-61E8-402C-9AC1-0012355BD1C2}"/>
                </a:ext>
              </a:extLst>
            </p:cNvPr>
            <p:cNvSpPr/>
            <p:nvPr/>
          </p:nvSpPr>
          <p:spPr bwMode="auto">
            <a:xfrm>
              <a:off x="11799344" y="380076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ounded Rectangle 132">
              <a:extLst>
                <a:ext uri="{FF2B5EF4-FFF2-40B4-BE49-F238E27FC236}">
                  <a16:creationId xmlns:a16="http://schemas.microsoft.com/office/drawing/2014/main" id="{D8E19BAE-6B79-43DB-A112-BC7DB4376616}"/>
                </a:ext>
              </a:extLst>
            </p:cNvPr>
            <p:cNvSpPr/>
            <p:nvPr/>
          </p:nvSpPr>
          <p:spPr bwMode="auto">
            <a:xfrm>
              <a:off x="10770530"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ounded Rectangle 133">
              <a:extLst>
                <a:ext uri="{FF2B5EF4-FFF2-40B4-BE49-F238E27FC236}">
                  <a16:creationId xmlns:a16="http://schemas.microsoft.com/office/drawing/2014/main" id="{17783E61-0FC6-4527-87C2-E8AA944B2BFB}"/>
                </a:ext>
              </a:extLst>
            </p:cNvPr>
            <p:cNvSpPr/>
            <p:nvPr/>
          </p:nvSpPr>
          <p:spPr bwMode="auto">
            <a:xfrm>
              <a:off x="11284937"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ounded Rectangle 134">
              <a:extLst>
                <a:ext uri="{FF2B5EF4-FFF2-40B4-BE49-F238E27FC236}">
                  <a16:creationId xmlns:a16="http://schemas.microsoft.com/office/drawing/2014/main" id="{B712C8E0-8BD0-475D-AE8B-BDA2D68D6B53}"/>
                </a:ext>
              </a:extLst>
            </p:cNvPr>
            <p:cNvSpPr/>
            <p:nvPr/>
          </p:nvSpPr>
          <p:spPr bwMode="auto">
            <a:xfrm>
              <a:off x="11799344" y="4310544"/>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ounded Rectangle 135">
              <a:extLst>
                <a:ext uri="{FF2B5EF4-FFF2-40B4-BE49-F238E27FC236}">
                  <a16:creationId xmlns:a16="http://schemas.microsoft.com/office/drawing/2014/main" id="{F22BD1E0-D58B-4394-A2F3-40EA1D8907D1}"/>
                </a:ext>
              </a:extLst>
            </p:cNvPr>
            <p:cNvSpPr/>
            <p:nvPr/>
          </p:nvSpPr>
          <p:spPr bwMode="auto">
            <a:xfrm>
              <a:off x="10763065"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ounded Rectangle 136">
              <a:extLst>
                <a:ext uri="{FF2B5EF4-FFF2-40B4-BE49-F238E27FC236}">
                  <a16:creationId xmlns:a16="http://schemas.microsoft.com/office/drawing/2014/main" id="{08A5F292-358D-41B0-959A-AA3218B4A2BF}"/>
                </a:ext>
              </a:extLst>
            </p:cNvPr>
            <p:cNvSpPr/>
            <p:nvPr/>
          </p:nvSpPr>
          <p:spPr bwMode="auto">
            <a:xfrm>
              <a:off x="11277473" y="482032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Rounded Rectangle 137">
              <a:extLst>
                <a:ext uri="{FF2B5EF4-FFF2-40B4-BE49-F238E27FC236}">
                  <a16:creationId xmlns:a16="http://schemas.microsoft.com/office/drawing/2014/main" id="{8516257F-EDC2-48C6-9DEC-6CA3F0E93CF3}"/>
                </a:ext>
              </a:extLst>
            </p:cNvPr>
            <p:cNvSpPr/>
            <p:nvPr/>
          </p:nvSpPr>
          <p:spPr bwMode="auto">
            <a:xfrm>
              <a:off x="11791879" y="4820319"/>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Rounded Rectangle 138">
              <a:extLst>
                <a:ext uri="{FF2B5EF4-FFF2-40B4-BE49-F238E27FC236}">
                  <a16:creationId xmlns:a16="http://schemas.microsoft.com/office/drawing/2014/main" id="{2873B974-B219-4367-9958-DF17B03CA7C8}"/>
                </a:ext>
              </a:extLst>
            </p:cNvPr>
            <p:cNvSpPr/>
            <p:nvPr/>
          </p:nvSpPr>
          <p:spPr bwMode="auto">
            <a:xfrm>
              <a:off x="10763066" y="533009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ounded Rectangle 139">
              <a:extLst>
                <a:ext uri="{FF2B5EF4-FFF2-40B4-BE49-F238E27FC236}">
                  <a16:creationId xmlns:a16="http://schemas.microsoft.com/office/drawing/2014/main" id="{312B25EF-59AA-4E4D-A19D-70E94747AB8E}"/>
                </a:ext>
              </a:extLst>
            </p:cNvPr>
            <p:cNvSpPr/>
            <p:nvPr/>
          </p:nvSpPr>
          <p:spPr bwMode="auto">
            <a:xfrm>
              <a:off x="11277473"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Rounded Rectangle 140">
              <a:extLst>
                <a:ext uri="{FF2B5EF4-FFF2-40B4-BE49-F238E27FC236}">
                  <a16:creationId xmlns:a16="http://schemas.microsoft.com/office/drawing/2014/main" id="{799B4E34-46FC-433E-82DF-F74E9C3D898F}"/>
                </a:ext>
              </a:extLst>
            </p:cNvPr>
            <p:cNvSpPr/>
            <p:nvPr/>
          </p:nvSpPr>
          <p:spPr bwMode="auto">
            <a:xfrm>
              <a:off x="11791879" y="533009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Rounded Rectangle 141">
              <a:extLst>
                <a:ext uri="{FF2B5EF4-FFF2-40B4-BE49-F238E27FC236}">
                  <a16:creationId xmlns:a16="http://schemas.microsoft.com/office/drawing/2014/main" id="{EC76EF7D-CBAE-4615-A2AB-141B470C4D3C}"/>
                </a:ext>
              </a:extLst>
            </p:cNvPr>
            <p:cNvSpPr/>
            <p:nvPr/>
          </p:nvSpPr>
          <p:spPr bwMode="auto">
            <a:xfrm>
              <a:off x="10763066" y="583987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ounded Rectangle 142">
              <a:extLst>
                <a:ext uri="{FF2B5EF4-FFF2-40B4-BE49-F238E27FC236}">
                  <a16:creationId xmlns:a16="http://schemas.microsoft.com/office/drawing/2014/main" id="{8B4CC693-1167-48A4-BC8F-3898AA2FA1D8}"/>
                </a:ext>
              </a:extLst>
            </p:cNvPr>
            <p:cNvSpPr/>
            <p:nvPr/>
          </p:nvSpPr>
          <p:spPr bwMode="auto">
            <a:xfrm>
              <a:off x="11277473"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ounded Rectangle 143">
              <a:extLst>
                <a:ext uri="{FF2B5EF4-FFF2-40B4-BE49-F238E27FC236}">
                  <a16:creationId xmlns:a16="http://schemas.microsoft.com/office/drawing/2014/main" id="{D5DE2D60-9E5E-4A36-AA36-389B9B282CD3}"/>
                </a:ext>
              </a:extLst>
            </p:cNvPr>
            <p:cNvSpPr/>
            <p:nvPr/>
          </p:nvSpPr>
          <p:spPr bwMode="auto">
            <a:xfrm>
              <a:off x="11791879" y="5839870"/>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Rounded Rectangle 144">
              <a:extLst>
                <a:ext uri="{FF2B5EF4-FFF2-40B4-BE49-F238E27FC236}">
                  <a16:creationId xmlns:a16="http://schemas.microsoft.com/office/drawing/2014/main" id="{542CA2D3-BF3E-43D7-8C83-A0448CE8D9FA}"/>
                </a:ext>
              </a:extLst>
            </p:cNvPr>
            <p:cNvSpPr/>
            <p:nvPr/>
          </p:nvSpPr>
          <p:spPr bwMode="auto">
            <a:xfrm>
              <a:off x="10755601"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ounded Rectangle 145">
              <a:extLst>
                <a:ext uri="{FF2B5EF4-FFF2-40B4-BE49-F238E27FC236}">
                  <a16:creationId xmlns:a16="http://schemas.microsoft.com/office/drawing/2014/main" id="{E82FAE68-00C2-4291-B66B-6EEA03238D08}"/>
                </a:ext>
              </a:extLst>
            </p:cNvPr>
            <p:cNvSpPr/>
            <p:nvPr/>
          </p:nvSpPr>
          <p:spPr bwMode="auto">
            <a:xfrm>
              <a:off x="11270009" y="634964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ounded Rectangle 146">
              <a:extLst>
                <a:ext uri="{FF2B5EF4-FFF2-40B4-BE49-F238E27FC236}">
                  <a16:creationId xmlns:a16="http://schemas.microsoft.com/office/drawing/2014/main" id="{6FA1095E-896C-4E0C-89D0-38E7570DD4CB}"/>
                </a:ext>
              </a:extLst>
            </p:cNvPr>
            <p:cNvSpPr/>
            <p:nvPr/>
          </p:nvSpPr>
          <p:spPr bwMode="auto">
            <a:xfrm>
              <a:off x="11784416" y="6349645"/>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3" name="Rounded Rectangle 147">
              <a:extLst>
                <a:ext uri="{FF2B5EF4-FFF2-40B4-BE49-F238E27FC236}">
                  <a16:creationId xmlns:a16="http://schemas.microsoft.com/office/drawing/2014/main" id="{E0B8C44F-B285-4EF0-BFE3-F0C72EC7E9DB}"/>
                </a:ext>
              </a:extLst>
            </p:cNvPr>
            <p:cNvSpPr/>
            <p:nvPr/>
          </p:nvSpPr>
          <p:spPr bwMode="auto">
            <a:xfrm>
              <a:off x="10777013" y="232303"/>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Rounded Rectangle 148">
              <a:extLst>
                <a:ext uri="{FF2B5EF4-FFF2-40B4-BE49-F238E27FC236}">
                  <a16:creationId xmlns:a16="http://schemas.microsoft.com/office/drawing/2014/main" id="{6E1D015C-4799-46C4-B499-21BCB8EA264A}"/>
                </a:ext>
              </a:extLst>
            </p:cNvPr>
            <p:cNvSpPr/>
            <p:nvPr/>
          </p:nvSpPr>
          <p:spPr bwMode="auto">
            <a:xfrm>
              <a:off x="11291420"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5" name="Rounded Rectangle 149">
              <a:extLst>
                <a:ext uri="{FF2B5EF4-FFF2-40B4-BE49-F238E27FC236}">
                  <a16:creationId xmlns:a16="http://schemas.microsoft.com/office/drawing/2014/main" id="{35227410-433E-4C11-A845-26EBC8335276}"/>
                </a:ext>
              </a:extLst>
            </p:cNvPr>
            <p:cNvSpPr/>
            <p:nvPr/>
          </p:nvSpPr>
          <p:spPr bwMode="auto">
            <a:xfrm>
              <a:off x="11805827" y="23230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6" name="Rounded Rectangle 150">
              <a:extLst>
                <a:ext uri="{FF2B5EF4-FFF2-40B4-BE49-F238E27FC236}">
                  <a16:creationId xmlns:a16="http://schemas.microsoft.com/office/drawing/2014/main" id="{D65C9646-2D48-4918-8085-8140250290D7}"/>
                </a:ext>
              </a:extLst>
            </p:cNvPr>
            <p:cNvSpPr/>
            <p:nvPr/>
          </p:nvSpPr>
          <p:spPr bwMode="auto">
            <a:xfrm>
              <a:off x="10777013" y="742082"/>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ounded Rectangle 151">
              <a:extLst>
                <a:ext uri="{FF2B5EF4-FFF2-40B4-BE49-F238E27FC236}">
                  <a16:creationId xmlns:a16="http://schemas.microsoft.com/office/drawing/2014/main" id="{863F56F2-A415-4830-8DA9-16F5A452DE5C}"/>
                </a:ext>
              </a:extLst>
            </p:cNvPr>
            <p:cNvSpPr/>
            <p:nvPr/>
          </p:nvSpPr>
          <p:spPr bwMode="auto">
            <a:xfrm>
              <a:off x="11291420"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8" name="Rounded Rectangle 152">
              <a:extLst>
                <a:ext uri="{FF2B5EF4-FFF2-40B4-BE49-F238E27FC236}">
                  <a16:creationId xmlns:a16="http://schemas.microsoft.com/office/drawing/2014/main" id="{35FB38CE-6DA1-46E3-B8D2-D4FCB2578F36}"/>
                </a:ext>
              </a:extLst>
            </p:cNvPr>
            <p:cNvSpPr/>
            <p:nvPr/>
          </p:nvSpPr>
          <p:spPr bwMode="auto">
            <a:xfrm>
              <a:off x="11805827" y="742081"/>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9" name="Rounded Rectangle 153">
              <a:extLst>
                <a:ext uri="{FF2B5EF4-FFF2-40B4-BE49-F238E27FC236}">
                  <a16:creationId xmlns:a16="http://schemas.microsoft.com/office/drawing/2014/main" id="{9BB48557-55B3-41CF-A445-83CEC21303D6}"/>
                </a:ext>
              </a:extLst>
            </p:cNvPr>
            <p:cNvSpPr/>
            <p:nvPr/>
          </p:nvSpPr>
          <p:spPr bwMode="auto">
            <a:xfrm>
              <a:off x="10769548" y="125185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0" name="Rounded Rectangle 154">
              <a:extLst>
                <a:ext uri="{FF2B5EF4-FFF2-40B4-BE49-F238E27FC236}">
                  <a16:creationId xmlns:a16="http://schemas.microsoft.com/office/drawing/2014/main" id="{7E5A45E1-DCCE-4C31-908D-A8355894A9B8}"/>
                </a:ext>
              </a:extLst>
            </p:cNvPr>
            <p:cNvSpPr/>
            <p:nvPr/>
          </p:nvSpPr>
          <p:spPr bwMode="auto">
            <a:xfrm>
              <a:off x="11283956" y="1251857"/>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1" name="Rounded Rectangle 155">
              <a:extLst>
                <a:ext uri="{FF2B5EF4-FFF2-40B4-BE49-F238E27FC236}">
                  <a16:creationId xmlns:a16="http://schemas.microsoft.com/office/drawing/2014/main" id="{82E27908-6399-4ADD-ABD6-48BEA8F94B54}"/>
                </a:ext>
              </a:extLst>
            </p:cNvPr>
            <p:cNvSpPr/>
            <p:nvPr/>
          </p:nvSpPr>
          <p:spPr bwMode="auto">
            <a:xfrm>
              <a:off x="11798363" y="1251856"/>
              <a:ext cx="424216" cy="424216"/>
            </a:xfrm>
            <a:prstGeom prst="roundRect">
              <a:avLst>
                <a:gd name="adj" fmla="val 0"/>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83868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5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left)">
                                      <p:cBhvr>
                                        <p:cTn id="7" dur="500"/>
                                        <p:tgtEl>
                                          <p:spTgt spid="6">
                                            <p:txEl>
                                              <p:pRg st="0" end="0"/>
                                            </p:txEl>
                                          </p:spTgt>
                                        </p:tgtEl>
                                      </p:cBhvr>
                                    </p:animEffect>
                                  </p:childTnLst>
                                </p:cTn>
                              </p:par>
                            </p:childTnLst>
                          </p:cTn>
                        </p:par>
                        <p:par>
                          <p:cTn id="8" fill="hold">
                            <p:stCondLst>
                              <p:cond delay="1000"/>
                            </p:stCondLst>
                            <p:childTnLst>
                              <p:par>
                                <p:cTn id="9" presetID="22" presetClass="entr" presetSubtype="2" fill="hold" nodeType="afterEffect">
                                  <p:stCondLst>
                                    <p:cond delay="25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righ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wipe(left)">
                                      <p:cBhvr>
                                        <p:cTn id="16" dur="500"/>
                                        <p:tgtEl>
                                          <p:spTgt spid="6">
                                            <p:txEl>
                                              <p:pRg st="3" end="3"/>
                                            </p:txEl>
                                          </p:spTgt>
                                        </p:tgtEl>
                                      </p:cBhvr>
                                    </p:animEffect>
                                  </p:childTnLst>
                                </p:cTn>
                              </p:par>
                            </p:childTnLst>
                          </p:cTn>
                        </p:par>
                        <p:par>
                          <p:cTn id="17" fill="hold">
                            <p:stCondLst>
                              <p:cond delay="500"/>
                            </p:stCondLst>
                            <p:childTnLst>
                              <p:par>
                                <p:cTn id="18" presetID="22" presetClass="entr" presetSubtype="2" fill="hold" nodeType="afterEffect">
                                  <p:stCondLst>
                                    <p:cond delay="250"/>
                                  </p:stCondLst>
                                  <p:childTnLst>
                                    <p:set>
                                      <p:cBhvr>
                                        <p:cTn id="19" dur="1" fill="hold">
                                          <p:stCondLst>
                                            <p:cond delay="0"/>
                                          </p:stCondLst>
                                        </p:cTn>
                                        <p:tgtEl>
                                          <p:spTgt spid="6">
                                            <p:txEl>
                                              <p:pRg st="4" end="4"/>
                                            </p:txEl>
                                          </p:spTgt>
                                        </p:tgtEl>
                                        <p:attrNameLst>
                                          <p:attrName>style.visibility</p:attrName>
                                        </p:attrNameLst>
                                      </p:cBhvr>
                                      <p:to>
                                        <p:strVal val="visible"/>
                                      </p:to>
                                    </p:set>
                                    <p:animEffect transition="in" filter="wipe(right)">
                                      <p:cBhvr>
                                        <p:cTn id="20" dur="500"/>
                                        <p:tgtEl>
                                          <p:spTgt spid="6">
                                            <p:txEl>
                                              <p:pRg st="4" end="4"/>
                                            </p:txEl>
                                          </p:spTgt>
                                        </p:tgtEl>
                                      </p:cBhvr>
                                    </p:animEffect>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143"/>
                                        </p:tgtEl>
                                        <p:attrNameLst>
                                          <p:attrName>style.visibility</p:attrName>
                                        </p:attrNameLst>
                                      </p:cBhvr>
                                      <p:to>
                                        <p:strVal val="visible"/>
                                      </p:to>
                                    </p:set>
                                    <p:animEffect transition="in" filter="fade">
                                      <p:cBhvr>
                                        <p:cTn id="24" dur="100"/>
                                        <p:tgtEl>
                                          <p:spTgt spid="143"/>
                                        </p:tgtEl>
                                      </p:cBhvr>
                                    </p:animEffect>
                                  </p:childTnLst>
                                </p:cTn>
                              </p:par>
                            </p:childTnLst>
                          </p:cTn>
                        </p:par>
                        <p:par>
                          <p:cTn id="25" fill="hold">
                            <p:stCondLst>
                              <p:cond delay="1350"/>
                            </p:stCondLst>
                            <p:childTnLst>
                              <p:par>
                                <p:cTn id="26" presetID="10" presetClass="entr" presetSubtype="0" fill="hold" grpId="0" nodeType="afterEffect">
                                  <p:stCondLst>
                                    <p:cond delay="0"/>
                                  </p:stCondLst>
                                  <p:childTnLst>
                                    <p:set>
                                      <p:cBhvr>
                                        <p:cTn id="27" dur="1" fill="hold">
                                          <p:stCondLst>
                                            <p:cond delay="0"/>
                                          </p:stCondLst>
                                        </p:cTn>
                                        <p:tgtEl>
                                          <p:spTgt spid="144"/>
                                        </p:tgtEl>
                                        <p:attrNameLst>
                                          <p:attrName>style.visibility</p:attrName>
                                        </p:attrNameLst>
                                      </p:cBhvr>
                                      <p:to>
                                        <p:strVal val="visible"/>
                                      </p:to>
                                    </p:set>
                                    <p:animEffect transition="in" filter="fade">
                                      <p:cBhvr>
                                        <p:cTn id="28" dur="100"/>
                                        <p:tgtEl>
                                          <p:spTgt spid="144"/>
                                        </p:tgtEl>
                                      </p:cBhvr>
                                    </p:animEffect>
                                  </p:childTnLst>
                                </p:cTn>
                              </p:par>
                            </p:childTnLst>
                          </p:cTn>
                        </p:par>
                        <p:par>
                          <p:cTn id="29" fill="hold">
                            <p:stCondLst>
                              <p:cond delay="1450"/>
                            </p:stCondLst>
                            <p:childTnLst>
                              <p:par>
                                <p:cTn id="30" presetID="10" presetClass="entr" presetSubtype="0" fill="hold" grpId="0" nodeType="afterEffect">
                                  <p:stCondLst>
                                    <p:cond delay="0"/>
                                  </p:stCondLst>
                                  <p:childTnLst>
                                    <p:set>
                                      <p:cBhvr>
                                        <p:cTn id="31" dur="1" fill="hold">
                                          <p:stCondLst>
                                            <p:cond delay="0"/>
                                          </p:stCondLst>
                                        </p:cTn>
                                        <p:tgtEl>
                                          <p:spTgt spid="145"/>
                                        </p:tgtEl>
                                        <p:attrNameLst>
                                          <p:attrName>style.visibility</p:attrName>
                                        </p:attrNameLst>
                                      </p:cBhvr>
                                      <p:to>
                                        <p:strVal val="visible"/>
                                      </p:to>
                                    </p:set>
                                    <p:animEffect transition="in" filter="fade">
                                      <p:cBhvr>
                                        <p:cTn id="32" dur="100"/>
                                        <p:tgtEl>
                                          <p:spTgt spid="145"/>
                                        </p:tgtEl>
                                      </p:cBhvr>
                                    </p:animEffect>
                                  </p:childTnLst>
                                </p:cTn>
                              </p:par>
                            </p:childTnLst>
                          </p:cTn>
                        </p:par>
                        <p:par>
                          <p:cTn id="33" fill="hold">
                            <p:stCondLst>
                              <p:cond delay="1550"/>
                            </p:stCondLst>
                            <p:childTnLst>
                              <p:par>
                                <p:cTn id="34" presetID="10" presetClass="entr" presetSubtype="0" fill="hold" grpId="0" nodeType="afterEffect">
                                  <p:stCondLst>
                                    <p:cond delay="0"/>
                                  </p:stCondLst>
                                  <p:childTnLst>
                                    <p:set>
                                      <p:cBhvr>
                                        <p:cTn id="35" dur="1" fill="hold">
                                          <p:stCondLst>
                                            <p:cond delay="0"/>
                                          </p:stCondLst>
                                        </p:cTn>
                                        <p:tgtEl>
                                          <p:spTgt spid="146"/>
                                        </p:tgtEl>
                                        <p:attrNameLst>
                                          <p:attrName>style.visibility</p:attrName>
                                        </p:attrNameLst>
                                      </p:cBhvr>
                                      <p:to>
                                        <p:strVal val="visible"/>
                                      </p:to>
                                    </p:set>
                                    <p:animEffect transition="in" filter="fade">
                                      <p:cBhvr>
                                        <p:cTn id="36" dur="100"/>
                                        <p:tgtEl>
                                          <p:spTgt spid="146"/>
                                        </p:tgtEl>
                                      </p:cBhvr>
                                    </p:animEffect>
                                  </p:childTnLst>
                                </p:cTn>
                              </p:par>
                            </p:childTnLst>
                          </p:cTn>
                        </p:par>
                        <p:par>
                          <p:cTn id="37" fill="hold">
                            <p:stCondLst>
                              <p:cond delay="1650"/>
                            </p:stCondLst>
                            <p:childTnLst>
                              <p:par>
                                <p:cTn id="38" presetID="10" presetClass="entr" presetSubtype="0" fill="hold" grpId="0" nodeType="afterEffect">
                                  <p:stCondLst>
                                    <p:cond delay="0"/>
                                  </p:stCondLst>
                                  <p:childTnLst>
                                    <p:set>
                                      <p:cBhvr>
                                        <p:cTn id="39" dur="1" fill="hold">
                                          <p:stCondLst>
                                            <p:cond delay="0"/>
                                          </p:stCondLst>
                                        </p:cTn>
                                        <p:tgtEl>
                                          <p:spTgt spid="147"/>
                                        </p:tgtEl>
                                        <p:attrNameLst>
                                          <p:attrName>style.visibility</p:attrName>
                                        </p:attrNameLst>
                                      </p:cBhvr>
                                      <p:to>
                                        <p:strVal val="visible"/>
                                      </p:to>
                                    </p:set>
                                    <p:animEffect transition="in" filter="fade">
                                      <p:cBhvr>
                                        <p:cTn id="40" dur="100"/>
                                        <p:tgtEl>
                                          <p:spTgt spid="147"/>
                                        </p:tgtEl>
                                      </p:cBhvr>
                                    </p:animEffect>
                                  </p:childTnLst>
                                </p:cTn>
                              </p:par>
                            </p:childTnLst>
                          </p:cTn>
                        </p:par>
                        <p:par>
                          <p:cTn id="41" fill="hold">
                            <p:stCondLst>
                              <p:cond delay="1750"/>
                            </p:stCondLst>
                            <p:childTnLst>
                              <p:par>
                                <p:cTn id="42" presetID="10" presetClass="entr" presetSubtype="0" fill="hold" grpId="0" nodeType="afterEffect">
                                  <p:stCondLst>
                                    <p:cond delay="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100"/>
                                        <p:tgtEl>
                                          <p:spTgt spid="148"/>
                                        </p:tgtEl>
                                      </p:cBhvr>
                                    </p:animEffect>
                                  </p:childTnLst>
                                </p:cTn>
                              </p:par>
                            </p:childTnLst>
                          </p:cTn>
                        </p:par>
                        <p:par>
                          <p:cTn id="45" fill="hold">
                            <p:stCondLst>
                              <p:cond delay="1850"/>
                            </p:stCondLst>
                            <p:childTnLst>
                              <p:par>
                                <p:cTn id="46" presetID="10" presetClass="entr" presetSubtype="0" fill="hold" grpId="0" nodeType="afterEffect">
                                  <p:stCondLst>
                                    <p:cond delay="0"/>
                                  </p:stCondLst>
                                  <p:childTnLst>
                                    <p:set>
                                      <p:cBhvr>
                                        <p:cTn id="47" dur="1" fill="hold">
                                          <p:stCondLst>
                                            <p:cond delay="0"/>
                                          </p:stCondLst>
                                        </p:cTn>
                                        <p:tgtEl>
                                          <p:spTgt spid="149"/>
                                        </p:tgtEl>
                                        <p:attrNameLst>
                                          <p:attrName>style.visibility</p:attrName>
                                        </p:attrNameLst>
                                      </p:cBhvr>
                                      <p:to>
                                        <p:strVal val="visible"/>
                                      </p:to>
                                    </p:set>
                                    <p:animEffect transition="in" filter="fade">
                                      <p:cBhvr>
                                        <p:cTn id="48" dur="100"/>
                                        <p:tgtEl>
                                          <p:spTgt spid="149"/>
                                        </p:tgtEl>
                                      </p:cBhvr>
                                    </p:animEffect>
                                  </p:childTnLst>
                                </p:cTn>
                              </p:par>
                            </p:childTnLst>
                          </p:cTn>
                        </p:par>
                        <p:par>
                          <p:cTn id="49" fill="hold">
                            <p:stCondLst>
                              <p:cond delay="1950"/>
                            </p:stCondLst>
                            <p:childTnLst>
                              <p:par>
                                <p:cTn id="50" presetID="10" presetClass="entr" presetSubtype="0" fill="hold" grpId="0" nodeType="afterEffect">
                                  <p:stCondLst>
                                    <p:cond delay="0"/>
                                  </p:stCondLst>
                                  <p:childTnLst>
                                    <p:set>
                                      <p:cBhvr>
                                        <p:cTn id="51" dur="1" fill="hold">
                                          <p:stCondLst>
                                            <p:cond delay="0"/>
                                          </p:stCondLst>
                                        </p:cTn>
                                        <p:tgtEl>
                                          <p:spTgt spid="150"/>
                                        </p:tgtEl>
                                        <p:attrNameLst>
                                          <p:attrName>style.visibility</p:attrName>
                                        </p:attrNameLst>
                                      </p:cBhvr>
                                      <p:to>
                                        <p:strVal val="visible"/>
                                      </p:to>
                                    </p:set>
                                    <p:animEffect transition="in" filter="fade">
                                      <p:cBhvr>
                                        <p:cTn id="52" dur="100"/>
                                        <p:tgtEl>
                                          <p:spTgt spid="150"/>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6">
                                            <p:txEl>
                                              <p:pRg st="6" end="6"/>
                                            </p:txEl>
                                          </p:spTgt>
                                        </p:tgtEl>
                                        <p:attrNameLst>
                                          <p:attrName>style.visibility</p:attrName>
                                        </p:attrNameLst>
                                      </p:cBhvr>
                                      <p:to>
                                        <p:strVal val="visible"/>
                                      </p:to>
                                    </p:set>
                                    <p:animEffect transition="in" filter="wipe(left)">
                                      <p:cBhvr>
                                        <p:cTn id="57" dur="500"/>
                                        <p:tgtEl>
                                          <p:spTgt spid="6">
                                            <p:txEl>
                                              <p:pRg st="6" end="6"/>
                                            </p:txEl>
                                          </p:spTgt>
                                        </p:tgtEl>
                                      </p:cBhvr>
                                    </p:animEffect>
                                  </p:childTnLst>
                                </p:cTn>
                              </p:par>
                            </p:childTnLst>
                          </p:cTn>
                        </p:par>
                        <p:par>
                          <p:cTn id="58" fill="hold">
                            <p:stCondLst>
                              <p:cond delay="500"/>
                            </p:stCondLst>
                            <p:childTnLst>
                              <p:par>
                                <p:cTn id="59" presetID="22" presetClass="entr" presetSubtype="2" fill="hold" nodeType="afterEffect">
                                  <p:stCondLst>
                                    <p:cond delay="250"/>
                                  </p:stCondLst>
                                  <p:childTnLst>
                                    <p:set>
                                      <p:cBhvr>
                                        <p:cTn id="60" dur="1" fill="hold">
                                          <p:stCondLst>
                                            <p:cond delay="0"/>
                                          </p:stCondLst>
                                        </p:cTn>
                                        <p:tgtEl>
                                          <p:spTgt spid="6">
                                            <p:txEl>
                                              <p:pRg st="7" end="7"/>
                                            </p:txEl>
                                          </p:spTgt>
                                        </p:tgtEl>
                                        <p:attrNameLst>
                                          <p:attrName>style.visibility</p:attrName>
                                        </p:attrNameLst>
                                      </p:cBhvr>
                                      <p:to>
                                        <p:strVal val="visible"/>
                                      </p:to>
                                    </p:set>
                                    <p:animEffect transition="in" filter="wipe(right)">
                                      <p:cBhvr>
                                        <p:cTn id="61" dur="500"/>
                                        <p:tgtEl>
                                          <p:spTgt spid="6">
                                            <p:txEl>
                                              <p:pRg st="7" end="7"/>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6">
                                            <p:txEl>
                                              <p:pRg st="9" end="9"/>
                                            </p:txEl>
                                          </p:spTgt>
                                        </p:tgtEl>
                                        <p:attrNameLst>
                                          <p:attrName>style.visibility</p:attrName>
                                        </p:attrNameLst>
                                      </p:cBhvr>
                                      <p:to>
                                        <p:strVal val="visible"/>
                                      </p:to>
                                    </p:set>
                                    <p:animEffect transition="in" filter="wipe(left)">
                                      <p:cBhvr>
                                        <p:cTn id="66" dur="500"/>
                                        <p:tgtEl>
                                          <p:spTgt spid="6">
                                            <p:txEl>
                                              <p:pRg st="9" end="9"/>
                                            </p:txEl>
                                          </p:spTgt>
                                        </p:tgtEl>
                                      </p:cBhvr>
                                    </p:animEffect>
                                  </p:childTnLst>
                                </p:cTn>
                              </p:par>
                            </p:childTnLst>
                          </p:cTn>
                        </p:par>
                        <p:par>
                          <p:cTn id="67" fill="hold">
                            <p:stCondLst>
                              <p:cond delay="500"/>
                            </p:stCondLst>
                            <p:childTnLst>
                              <p:par>
                                <p:cTn id="68" presetID="22" presetClass="entr" presetSubtype="2" fill="hold" nodeType="afterEffect">
                                  <p:stCondLst>
                                    <p:cond delay="250"/>
                                  </p:stCondLst>
                                  <p:childTnLst>
                                    <p:set>
                                      <p:cBhvr>
                                        <p:cTn id="69" dur="1" fill="hold">
                                          <p:stCondLst>
                                            <p:cond delay="0"/>
                                          </p:stCondLst>
                                        </p:cTn>
                                        <p:tgtEl>
                                          <p:spTgt spid="6">
                                            <p:txEl>
                                              <p:pRg st="10" end="10"/>
                                            </p:txEl>
                                          </p:spTgt>
                                        </p:tgtEl>
                                        <p:attrNameLst>
                                          <p:attrName>style.visibility</p:attrName>
                                        </p:attrNameLst>
                                      </p:cBhvr>
                                      <p:to>
                                        <p:strVal val="visible"/>
                                      </p:to>
                                    </p:set>
                                    <p:animEffect transition="in" filter="wipe(right)">
                                      <p:cBhvr>
                                        <p:cTn id="70" dur="500"/>
                                        <p:tgtEl>
                                          <p:spTgt spid="6">
                                            <p:txEl>
                                              <p:pRg st="10" end="10"/>
                                            </p:txEl>
                                          </p:spTgt>
                                        </p:tgtEl>
                                      </p:cBhvr>
                                    </p:animEffect>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138"/>
                                        </p:tgtEl>
                                        <p:attrNameLst>
                                          <p:attrName>style.visibility</p:attrName>
                                        </p:attrNameLst>
                                      </p:cBhvr>
                                      <p:to>
                                        <p:strVal val="visible"/>
                                      </p:to>
                                    </p:set>
                                    <p:animEffect transition="in" filter="fade">
                                      <p:cBhvr>
                                        <p:cTn id="74" dur="100"/>
                                        <p:tgtEl>
                                          <p:spTgt spid="138"/>
                                        </p:tgtEl>
                                      </p:cBhvr>
                                    </p:animEffect>
                                  </p:childTnLst>
                                </p:cTn>
                              </p:par>
                            </p:childTnLst>
                          </p:cTn>
                        </p:par>
                        <p:par>
                          <p:cTn id="75" fill="hold">
                            <p:stCondLst>
                              <p:cond delay="1350"/>
                            </p:stCondLst>
                            <p:childTnLst>
                              <p:par>
                                <p:cTn id="76" presetID="10" presetClass="entr" presetSubtype="0" fill="hold" grpId="0" nodeType="afterEffect">
                                  <p:stCondLst>
                                    <p:cond delay="0"/>
                                  </p:stCondLst>
                                  <p:childTnLst>
                                    <p:set>
                                      <p:cBhvr>
                                        <p:cTn id="77" dur="1" fill="hold">
                                          <p:stCondLst>
                                            <p:cond delay="0"/>
                                          </p:stCondLst>
                                        </p:cTn>
                                        <p:tgtEl>
                                          <p:spTgt spid="139"/>
                                        </p:tgtEl>
                                        <p:attrNameLst>
                                          <p:attrName>style.visibility</p:attrName>
                                        </p:attrNameLst>
                                      </p:cBhvr>
                                      <p:to>
                                        <p:strVal val="visible"/>
                                      </p:to>
                                    </p:set>
                                    <p:animEffect transition="in" filter="fade">
                                      <p:cBhvr>
                                        <p:cTn id="78" dur="100"/>
                                        <p:tgtEl>
                                          <p:spTgt spid="139"/>
                                        </p:tgtEl>
                                      </p:cBhvr>
                                    </p:animEffect>
                                  </p:childTnLst>
                                </p:cTn>
                              </p:par>
                            </p:childTnLst>
                          </p:cTn>
                        </p:par>
                        <p:par>
                          <p:cTn id="79" fill="hold">
                            <p:stCondLst>
                              <p:cond delay="1450"/>
                            </p:stCondLst>
                            <p:childTnLst>
                              <p:par>
                                <p:cTn id="80" presetID="10" presetClass="entr" presetSubtype="0" fill="hold" grpId="0" nodeType="afterEffect">
                                  <p:stCondLst>
                                    <p:cond delay="0"/>
                                  </p:stCondLst>
                                  <p:childTnLst>
                                    <p:set>
                                      <p:cBhvr>
                                        <p:cTn id="81" dur="1" fill="hold">
                                          <p:stCondLst>
                                            <p:cond delay="0"/>
                                          </p:stCondLst>
                                        </p:cTn>
                                        <p:tgtEl>
                                          <p:spTgt spid="140"/>
                                        </p:tgtEl>
                                        <p:attrNameLst>
                                          <p:attrName>style.visibility</p:attrName>
                                        </p:attrNameLst>
                                      </p:cBhvr>
                                      <p:to>
                                        <p:strVal val="visible"/>
                                      </p:to>
                                    </p:set>
                                    <p:animEffect transition="in" filter="fade">
                                      <p:cBhvr>
                                        <p:cTn id="82" dur="100"/>
                                        <p:tgtEl>
                                          <p:spTgt spid="140"/>
                                        </p:tgtEl>
                                      </p:cBhvr>
                                    </p:animEffect>
                                  </p:childTnLst>
                                </p:cTn>
                              </p:par>
                            </p:childTnLst>
                          </p:cTn>
                        </p:par>
                        <p:par>
                          <p:cTn id="83" fill="hold">
                            <p:stCondLst>
                              <p:cond delay="1550"/>
                            </p:stCondLst>
                            <p:childTnLst>
                              <p:par>
                                <p:cTn id="84" presetID="10" presetClass="entr" presetSubtype="0" fill="hold" grpId="0" nodeType="afterEffect">
                                  <p:stCondLst>
                                    <p:cond delay="0"/>
                                  </p:stCondLst>
                                  <p:childTnLst>
                                    <p:set>
                                      <p:cBhvr>
                                        <p:cTn id="85" dur="1" fill="hold">
                                          <p:stCondLst>
                                            <p:cond delay="0"/>
                                          </p:stCondLst>
                                        </p:cTn>
                                        <p:tgtEl>
                                          <p:spTgt spid="141"/>
                                        </p:tgtEl>
                                        <p:attrNameLst>
                                          <p:attrName>style.visibility</p:attrName>
                                        </p:attrNameLst>
                                      </p:cBhvr>
                                      <p:to>
                                        <p:strVal val="visible"/>
                                      </p:to>
                                    </p:set>
                                    <p:animEffect transition="in" filter="fade">
                                      <p:cBhvr>
                                        <p:cTn id="86" dur="100"/>
                                        <p:tgtEl>
                                          <p:spTgt spid="141"/>
                                        </p:tgtEl>
                                      </p:cBhvr>
                                    </p:animEffect>
                                  </p:childTnLst>
                                </p:cTn>
                              </p:par>
                            </p:childTnLst>
                          </p:cTn>
                        </p:par>
                        <p:par>
                          <p:cTn id="87" fill="hold">
                            <p:stCondLst>
                              <p:cond delay="1650"/>
                            </p:stCondLst>
                            <p:childTnLst>
                              <p:par>
                                <p:cTn id="88" presetID="10" presetClass="entr" presetSubtype="0" fill="hold" grpId="0" nodeType="afterEffect">
                                  <p:stCondLst>
                                    <p:cond delay="0"/>
                                  </p:stCondLst>
                                  <p:childTnLst>
                                    <p:set>
                                      <p:cBhvr>
                                        <p:cTn id="89" dur="1" fill="hold">
                                          <p:stCondLst>
                                            <p:cond delay="0"/>
                                          </p:stCondLst>
                                        </p:cTn>
                                        <p:tgtEl>
                                          <p:spTgt spid="142"/>
                                        </p:tgtEl>
                                        <p:attrNameLst>
                                          <p:attrName>style.visibility</p:attrName>
                                        </p:attrNameLst>
                                      </p:cBhvr>
                                      <p:to>
                                        <p:strVal val="visible"/>
                                      </p:to>
                                    </p:set>
                                    <p:animEffect transition="in" filter="fade">
                                      <p:cBhvr>
                                        <p:cTn id="90" dur="100"/>
                                        <p:tgtEl>
                                          <p:spTgt spid="142"/>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nodeType="clickEffect">
                                  <p:stCondLst>
                                    <p:cond delay="0"/>
                                  </p:stCondLst>
                                  <p:childTnLst>
                                    <p:set>
                                      <p:cBhvr>
                                        <p:cTn id="94" dur="1" fill="hold">
                                          <p:stCondLst>
                                            <p:cond delay="0"/>
                                          </p:stCondLst>
                                        </p:cTn>
                                        <p:tgtEl>
                                          <p:spTgt spid="6">
                                            <p:txEl>
                                              <p:pRg st="13" end="13"/>
                                            </p:txEl>
                                          </p:spTgt>
                                        </p:tgtEl>
                                        <p:attrNameLst>
                                          <p:attrName>style.visibility</p:attrName>
                                        </p:attrNameLst>
                                      </p:cBhvr>
                                      <p:to>
                                        <p:strVal val="visible"/>
                                      </p:to>
                                    </p:set>
                                    <p:animEffect transition="in" filter="wipe(left)">
                                      <p:cBhvr>
                                        <p:cTn id="95" dur="500"/>
                                        <p:tgtEl>
                                          <p:spTgt spid="6">
                                            <p:txEl>
                                              <p:pRg st="13" end="13"/>
                                            </p:txEl>
                                          </p:spTgt>
                                        </p:tgtEl>
                                      </p:cBhvr>
                                    </p:animEffect>
                                  </p:childTnLst>
                                </p:cTn>
                              </p:par>
                            </p:childTnLst>
                          </p:cTn>
                        </p:par>
                        <p:par>
                          <p:cTn id="96" fill="hold">
                            <p:stCondLst>
                              <p:cond delay="500"/>
                            </p:stCondLst>
                            <p:childTnLst>
                              <p:par>
                                <p:cTn id="97" presetID="22" presetClass="entr" presetSubtype="2" fill="hold" nodeType="afterEffect">
                                  <p:stCondLst>
                                    <p:cond delay="250"/>
                                  </p:stCondLst>
                                  <p:childTnLst>
                                    <p:set>
                                      <p:cBhvr>
                                        <p:cTn id="98" dur="1" fill="hold">
                                          <p:stCondLst>
                                            <p:cond delay="0"/>
                                          </p:stCondLst>
                                        </p:cTn>
                                        <p:tgtEl>
                                          <p:spTgt spid="6">
                                            <p:txEl>
                                              <p:pRg st="14" end="14"/>
                                            </p:txEl>
                                          </p:spTgt>
                                        </p:tgtEl>
                                        <p:attrNameLst>
                                          <p:attrName>style.visibility</p:attrName>
                                        </p:attrNameLst>
                                      </p:cBhvr>
                                      <p:to>
                                        <p:strVal val="visible"/>
                                      </p:to>
                                    </p:set>
                                    <p:animEffect transition="in" filter="wipe(right)">
                                      <p:cBhvr>
                                        <p:cTn id="99" dur="500"/>
                                        <p:tgtEl>
                                          <p:spTgt spid="6">
                                            <p:txEl>
                                              <p:pRg st="14" end="14"/>
                                            </p:txEl>
                                          </p:spTgt>
                                        </p:tgtEl>
                                      </p:cBhvr>
                                    </p:animEffect>
                                  </p:childTnLst>
                                </p:cTn>
                              </p:par>
                            </p:childTnLst>
                          </p:cTn>
                        </p:par>
                        <p:par>
                          <p:cTn id="100" fill="hold">
                            <p:stCondLst>
                              <p:cond delay="1250"/>
                            </p:stCondLst>
                            <p:childTnLst>
                              <p:par>
                                <p:cTn id="101" presetID="22" presetClass="entr" presetSubtype="8" fill="hold" nodeType="afterEffect">
                                  <p:stCondLst>
                                    <p:cond delay="0"/>
                                  </p:stCondLst>
                                  <p:childTnLst>
                                    <p:set>
                                      <p:cBhvr>
                                        <p:cTn id="102" dur="1" fill="hold">
                                          <p:stCondLst>
                                            <p:cond delay="0"/>
                                          </p:stCondLst>
                                        </p:cTn>
                                        <p:tgtEl>
                                          <p:spTgt spid="151"/>
                                        </p:tgtEl>
                                        <p:attrNameLst>
                                          <p:attrName>style.visibility</p:attrName>
                                        </p:attrNameLst>
                                      </p:cBhvr>
                                      <p:to>
                                        <p:strVal val="visible"/>
                                      </p:to>
                                    </p:set>
                                    <p:animEffect transition="in" filter="wipe(left)">
                                      <p:cBhvr>
                                        <p:cTn id="103" dur="1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P spid="139" grpId="0" animBg="1"/>
      <p:bldP spid="140" grpId="0" animBg="1"/>
      <p:bldP spid="141" grpId="0" animBg="1"/>
      <p:bldP spid="142" grpId="0" animBg="1"/>
      <p:bldP spid="143" grpId="0" animBg="1"/>
      <p:bldP spid="144" grpId="0" animBg="1"/>
      <p:bldP spid="145" grpId="0" animBg="1"/>
      <p:bldP spid="146" grpId="0" animBg="1"/>
      <p:bldP spid="147" grpId="0" animBg="1"/>
      <p:bldP spid="148" grpId="0" animBg="1"/>
      <p:bldP spid="149" grpId="0" animBg="1"/>
      <p:bldP spid="15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ABD49-47AC-45EA-B1F7-7E603844A197}"/>
              </a:ext>
            </a:extLst>
          </p:cNvPr>
          <p:cNvSpPr>
            <a:spLocks noGrp="1"/>
          </p:cNvSpPr>
          <p:nvPr>
            <p:ph type="title"/>
          </p:nvPr>
        </p:nvSpPr>
        <p:spPr>
          <a:xfrm>
            <a:off x="495299" y="188150"/>
            <a:ext cx="9629469" cy="932730"/>
          </a:xfrm>
        </p:spPr>
        <p:txBody>
          <a:bodyPr/>
          <a:lstStyle/>
          <a:p>
            <a:r>
              <a:rPr lang="en-GB" dirty="0"/>
              <a:t>The Power Platform &amp; Dynamics 365</a:t>
            </a:r>
          </a:p>
        </p:txBody>
      </p:sp>
      <p:grpSp>
        <p:nvGrpSpPr>
          <p:cNvPr id="3" name="Group 2">
            <a:extLst>
              <a:ext uri="{FF2B5EF4-FFF2-40B4-BE49-F238E27FC236}">
                <a16:creationId xmlns:a16="http://schemas.microsoft.com/office/drawing/2014/main" id="{90CE2566-DF21-4AB2-B049-C490DAF93622}"/>
              </a:ext>
            </a:extLst>
          </p:cNvPr>
          <p:cNvGrpSpPr/>
          <p:nvPr/>
        </p:nvGrpSpPr>
        <p:grpSpPr>
          <a:xfrm>
            <a:off x="1960789" y="2127820"/>
            <a:ext cx="8257781" cy="2606511"/>
            <a:chOff x="2010725" y="1327777"/>
            <a:chExt cx="8257781" cy="3034501"/>
          </a:xfrm>
        </p:grpSpPr>
        <p:sp>
          <p:nvSpPr>
            <p:cNvPr id="4" name="Rectangle: Rounded Corners 1">
              <a:extLst>
                <a:ext uri="{FF2B5EF4-FFF2-40B4-BE49-F238E27FC236}">
                  <a16:creationId xmlns:a16="http://schemas.microsoft.com/office/drawing/2014/main" id="{66E23679-AB2A-482A-87A2-4FEC25369143}"/>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FCA713B7-2CDE-471E-BEA0-3982694E7AD3}"/>
                </a:ext>
              </a:extLst>
            </p:cNvPr>
            <p:cNvSpPr txBox="1"/>
            <p:nvPr/>
          </p:nvSpPr>
          <p:spPr>
            <a:xfrm>
              <a:off x="2112578" y="3796441"/>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Business Logic Layer</a:t>
              </a:r>
            </a:p>
          </p:txBody>
        </p:sp>
      </p:grpSp>
      <p:grpSp>
        <p:nvGrpSpPr>
          <p:cNvPr id="6" name="Group 5">
            <a:extLst>
              <a:ext uri="{FF2B5EF4-FFF2-40B4-BE49-F238E27FC236}">
                <a16:creationId xmlns:a16="http://schemas.microsoft.com/office/drawing/2014/main" id="{C1F1D7BE-30AD-424E-9C28-8E79747CB2DA}"/>
              </a:ext>
            </a:extLst>
          </p:cNvPr>
          <p:cNvGrpSpPr/>
          <p:nvPr/>
        </p:nvGrpSpPr>
        <p:grpSpPr>
          <a:xfrm>
            <a:off x="1960791" y="4852372"/>
            <a:ext cx="8257781" cy="777461"/>
            <a:chOff x="412783" y="3721588"/>
            <a:chExt cx="8257781" cy="777461"/>
          </a:xfrm>
        </p:grpSpPr>
        <p:sp>
          <p:nvSpPr>
            <p:cNvPr id="7" name="Rectangle: Rounded Corners 6">
              <a:extLst>
                <a:ext uri="{FF2B5EF4-FFF2-40B4-BE49-F238E27FC236}">
                  <a16:creationId xmlns:a16="http://schemas.microsoft.com/office/drawing/2014/main" id="{75ADA26F-90EB-4C14-B544-B523E4FB6F4E}"/>
                </a:ext>
              </a:extLst>
            </p:cNvPr>
            <p:cNvSpPr/>
            <p:nvPr/>
          </p:nvSpPr>
          <p:spPr>
            <a:xfrm>
              <a:off x="412783" y="3721588"/>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A142B36F-0761-4468-8E9C-EDEC58B4E41A}"/>
                </a:ext>
              </a:extLst>
            </p:cNvPr>
            <p:cNvSpPr txBox="1"/>
            <p:nvPr/>
          </p:nvSpPr>
          <p:spPr>
            <a:xfrm>
              <a:off x="1083297" y="3831667"/>
              <a:ext cx="2073029" cy="500253"/>
            </a:xfrm>
            <a:prstGeom prst="rect">
              <a:avLst/>
            </a:prstGeom>
          </p:spPr>
          <p:txBody>
            <a:bodyPr vert="horz" wrap="square" lIns="68580" tIns="34290" rIns="68580" bIns="34290" rtlCol="0" anchor="b" anchorCtr="0">
              <a:normAutofit fontScale="70000" lnSpcReduction="20000"/>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Common Data</a:t>
              </a:r>
              <a:b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Service for Apps </a:t>
              </a:r>
            </a:p>
          </p:txBody>
        </p:sp>
        <p:sp>
          <p:nvSpPr>
            <p:cNvPr id="9" name="Rectangle: Rounded Corners 8">
              <a:extLst>
                <a:ext uri="{FF2B5EF4-FFF2-40B4-BE49-F238E27FC236}">
                  <a16:creationId xmlns:a16="http://schemas.microsoft.com/office/drawing/2014/main" id="{663E5403-FCAB-40AA-A3D8-B7DDE1CF803F}"/>
                </a:ext>
              </a:extLst>
            </p:cNvPr>
            <p:cNvSpPr/>
            <p:nvPr/>
          </p:nvSpPr>
          <p:spPr>
            <a:xfrm>
              <a:off x="5284301" y="3885281"/>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Business Rules</a:t>
              </a:r>
            </a:p>
          </p:txBody>
        </p:sp>
        <p:sp>
          <p:nvSpPr>
            <p:cNvPr id="10" name="Rectangle: Rounded Corners 9">
              <a:extLst>
                <a:ext uri="{FF2B5EF4-FFF2-40B4-BE49-F238E27FC236}">
                  <a16:creationId xmlns:a16="http://schemas.microsoft.com/office/drawing/2014/main" id="{712FB40D-2DB1-440E-AE1D-7BB5EFDA3D9D}"/>
                </a:ext>
              </a:extLst>
            </p:cNvPr>
            <p:cNvSpPr/>
            <p:nvPr/>
          </p:nvSpPr>
          <p:spPr>
            <a:xfrm>
              <a:off x="6105761" y="3874488"/>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Security</a:t>
              </a:r>
            </a:p>
          </p:txBody>
        </p:sp>
        <p:sp>
          <p:nvSpPr>
            <p:cNvPr id="11" name="Rectangle: Rounded Corners 10">
              <a:extLst>
                <a:ext uri="{FF2B5EF4-FFF2-40B4-BE49-F238E27FC236}">
                  <a16:creationId xmlns:a16="http://schemas.microsoft.com/office/drawing/2014/main" id="{264BC491-2522-4193-A27B-FB7BBE369415}"/>
                </a:ext>
              </a:extLst>
            </p:cNvPr>
            <p:cNvSpPr/>
            <p:nvPr/>
          </p:nvSpPr>
          <p:spPr>
            <a:xfrm>
              <a:off x="6927221" y="3885281"/>
              <a:ext cx="75134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IT Related Functions</a:t>
              </a:r>
            </a:p>
          </p:txBody>
        </p:sp>
        <p:sp>
          <p:nvSpPr>
            <p:cNvPr id="12" name="Rectangle: Rounded Corners 11">
              <a:extLst>
                <a:ext uri="{FF2B5EF4-FFF2-40B4-BE49-F238E27FC236}">
                  <a16:creationId xmlns:a16="http://schemas.microsoft.com/office/drawing/2014/main" id="{9A73E8A0-7ACA-4699-923E-A630CAC31F1D}"/>
                </a:ext>
              </a:extLst>
            </p:cNvPr>
            <p:cNvSpPr/>
            <p:nvPr/>
          </p:nvSpPr>
          <p:spPr>
            <a:xfrm>
              <a:off x="7748686" y="3885281"/>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Plugins</a:t>
              </a:r>
            </a:p>
          </p:txBody>
        </p:sp>
        <p:sp>
          <p:nvSpPr>
            <p:cNvPr id="13" name="Database_EFC7" title="Icon of a cylinder">
              <a:extLst>
                <a:ext uri="{FF2B5EF4-FFF2-40B4-BE49-F238E27FC236}">
                  <a16:creationId xmlns:a16="http://schemas.microsoft.com/office/drawing/2014/main" id="{B794E320-2403-4D73-B482-803C51A03EA9}"/>
                </a:ext>
              </a:extLst>
            </p:cNvPr>
            <p:cNvSpPr/>
            <p:nvPr/>
          </p:nvSpPr>
          <p:spPr>
            <a:xfrm>
              <a:off x="654524" y="3887303"/>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14" name="Rectangle: Rounded Corners 13">
              <a:extLst>
                <a:ext uri="{FF2B5EF4-FFF2-40B4-BE49-F238E27FC236}">
                  <a16:creationId xmlns:a16="http://schemas.microsoft.com/office/drawing/2014/main" id="{BB6371E7-8A57-4380-8101-2577514B48A0}"/>
                </a:ext>
              </a:extLst>
            </p:cNvPr>
            <p:cNvSpPr/>
            <p:nvPr/>
          </p:nvSpPr>
          <p:spPr>
            <a:xfrm>
              <a:off x="4462841" y="3885281"/>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ies</a:t>
              </a:r>
            </a:p>
          </p:txBody>
        </p:sp>
        <p:sp>
          <p:nvSpPr>
            <p:cNvPr id="15" name="Rectangle: Rounded Corners 14">
              <a:extLst>
                <a:ext uri="{FF2B5EF4-FFF2-40B4-BE49-F238E27FC236}">
                  <a16:creationId xmlns:a16="http://schemas.microsoft.com/office/drawing/2014/main" id="{904A75A8-C4AD-4824-9788-27579DF098C0}"/>
                </a:ext>
              </a:extLst>
            </p:cNvPr>
            <p:cNvSpPr/>
            <p:nvPr/>
          </p:nvSpPr>
          <p:spPr>
            <a:xfrm>
              <a:off x="2895241"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ore Entities</a:t>
              </a:r>
            </a:p>
          </p:txBody>
        </p:sp>
        <p:sp>
          <p:nvSpPr>
            <p:cNvPr id="16" name="Rectangle: Rounded Corners 42">
              <a:extLst>
                <a:ext uri="{FF2B5EF4-FFF2-40B4-BE49-F238E27FC236}">
                  <a16:creationId xmlns:a16="http://schemas.microsoft.com/office/drawing/2014/main" id="{F2BF7D06-D711-4331-B3DC-1963578C53D6}"/>
                </a:ext>
              </a:extLst>
            </p:cNvPr>
            <p:cNvSpPr/>
            <p:nvPr/>
          </p:nvSpPr>
          <p:spPr>
            <a:xfrm>
              <a:off x="3641381" y="3885281"/>
              <a:ext cx="75133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 Integration</a:t>
              </a:r>
            </a:p>
          </p:txBody>
        </p:sp>
      </p:grpSp>
      <p:grpSp>
        <p:nvGrpSpPr>
          <p:cNvPr id="17" name="Group 16">
            <a:extLst>
              <a:ext uri="{FF2B5EF4-FFF2-40B4-BE49-F238E27FC236}">
                <a16:creationId xmlns:a16="http://schemas.microsoft.com/office/drawing/2014/main" id="{FD322A9E-CBBE-40D3-848F-054561D12251}"/>
              </a:ext>
            </a:extLst>
          </p:cNvPr>
          <p:cNvGrpSpPr/>
          <p:nvPr/>
        </p:nvGrpSpPr>
        <p:grpSpPr>
          <a:xfrm>
            <a:off x="2273757" y="2803937"/>
            <a:ext cx="3679857" cy="1518274"/>
            <a:chOff x="2769057" y="2460838"/>
            <a:chExt cx="3679857" cy="1518274"/>
          </a:xfrm>
        </p:grpSpPr>
        <p:grpSp>
          <p:nvGrpSpPr>
            <p:cNvPr id="18" name="Group 17">
              <a:extLst>
                <a:ext uri="{FF2B5EF4-FFF2-40B4-BE49-F238E27FC236}">
                  <a16:creationId xmlns:a16="http://schemas.microsoft.com/office/drawing/2014/main" id="{7A650239-95AD-446D-B4E4-76D714C42489}"/>
                </a:ext>
              </a:extLst>
            </p:cNvPr>
            <p:cNvGrpSpPr/>
            <p:nvPr/>
          </p:nvGrpSpPr>
          <p:grpSpPr>
            <a:xfrm>
              <a:off x="2783951" y="3247145"/>
              <a:ext cx="3664963" cy="731967"/>
              <a:chOff x="2323133" y="2835351"/>
              <a:chExt cx="3664963" cy="731967"/>
            </a:xfrm>
          </p:grpSpPr>
          <p:grpSp>
            <p:nvGrpSpPr>
              <p:cNvPr id="24" name="Group 23">
                <a:extLst>
                  <a:ext uri="{FF2B5EF4-FFF2-40B4-BE49-F238E27FC236}">
                    <a16:creationId xmlns:a16="http://schemas.microsoft.com/office/drawing/2014/main" id="{9601AF52-D412-4281-B680-621A30105BDD}"/>
                  </a:ext>
                </a:extLst>
              </p:cNvPr>
              <p:cNvGrpSpPr/>
              <p:nvPr/>
            </p:nvGrpSpPr>
            <p:grpSpPr>
              <a:xfrm>
                <a:off x="2323133" y="2835351"/>
                <a:ext cx="3664963" cy="731967"/>
                <a:chOff x="2313608" y="2806854"/>
                <a:chExt cx="3664963" cy="734620"/>
              </a:xfrm>
            </p:grpSpPr>
            <p:sp>
              <p:nvSpPr>
                <p:cNvPr id="26" name="Rectangle: Rounded Corners 8">
                  <a:extLst>
                    <a:ext uri="{FF2B5EF4-FFF2-40B4-BE49-F238E27FC236}">
                      <a16:creationId xmlns:a16="http://schemas.microsoft.com/office/drawing/2014/main" id="{179CDB06-9AE7-4B55-806E-135B235141F4}"/>
                    </a:ext>
                  </a:extLst>
                </p:cNvPr>
                <p:cNvSpPr/>
                <p:nvPr/>
              </p:nvSpPr>
              <p:spPr>
                <a:xfrm>
                  <a:off x="2313608" y="2806854"/>
                  <a:ext cx="3664963" cy="734620"/>
                </a:xfrm>
                <a:prstGeom prst="roundRect">
                  <a:avLst>
                    <a:gd name="adj" fmla="val 8999"/>
                  </a:avLst>
                </a:prstGeom>
                <a:blipFill dpi="0" rotWithShape="1">
                  <a:blip r:embed="rId2">
                    <a:alphaModFix amt="58000"/>
                  </a:blip>
                  <a:srcRect/>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Rounded Corners 18">
                  <a:extLst>
                    <a:ext uri="{FF2B5EF4-FFF2-40B4-BE49-F238E27FC236}">
                      <a16:creationId xmlns:a16="http://schemas.microsoft.com/office/drawing/2014/main" id="{D7CB7384-5978-4387-98A5-8F52A910D9EE}"/>
                    </a:ext>
                  </a:extLst>
                </p:cNvPr>
                <p:cNvSpPr/>
                <p:nvPr/>
              </p:nvSpPr>
              <p:spPr>
                <a:xfrm>
                  <a:off x="3201611" y="2944038"/>
                  <a:ext cx="1852042" cy="485595"/>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Canvas Apps</a:t>
                  </a:r>
                </a:p>
              </p:txBody>
            </p:sp>
          </p:grpSp>
          <p:pic>
            <p:nvPicPr>
              <p:cNvPr id="25" name="Picture 2" descr="Image result for powerapps logo">
                <a:extLst>
                  <a:ext uri="{FF2B5EF4-FFF2-40B4-BE49-F238E27FC236}">
                    <a16:creationId xmlns:a16="http://schemas.microsoft.com/office/drawing/2014/main" id="{7BF69AED-0924-42BC-BAE6-36F2828D317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29639" y="2920371"/>
                <a:ext cx="663586" cy="5408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2184E271-B1D7-4C88-870A-978A986D53B1}"/>
                </a:ext>
              </a:extLst>
            </p:cNvPr>
            <p:cNvGrpSpPr/>
            <p:nvPr/>
          </p:nvGrpSpPr>
          <p:grpSpPr>
            <a:xfrm>
              <a:off x="2769057" y="2460838"/>
              <a:ext cx="3664963" cy="687706"/>
              <a:chOff x="2333218" y="3677398"/>
              <a:chExt cx="3664963" cy="687706"/>
            </a:xfrm>
          </p:grpSpPr>
          <p:grpSp>
            <p:nvGrpSpPr>
              <p:cNvPr id="20" name="Group 19">
                <a:extLst>
                  <a:ext uri="{FF2B5EF4-FFF2-40B4-BE49-F238E27FC236}">
                    <a16:creationId xmlns:a16="http://schemas.microsoft.com/office/drawing/2014/main" id="{EAC68B26-5A41-4F9C-9B0A-648EFCBC939D}"/>
                  </a:ext>
                </a:extLst>
              </p:cNvPr>
              <p:cNvGrpSpPr/>
              <p:nvPr/>
            </p:nvGrpSpPr>
            <p:grpSpPr>
              <a:xfrm>
                <a:off x="2333218" y="3677398"/>
                <a:ext cx="3664963" cy="687706"/>
                <a:chOff x="2313608" y="2835726"/>
                <a:chExt cx="3664963" cy="705748"/>
              </a:xfrm>
            </p:grpSpPr>
            <p:sp>
              <p:nvSpPr>
                <p:cNvPr id="22" name="Rectangle: Rounded Corners 21">
                  <a:extLst>
                    <a:ext uri="{FF2B5EF4-FFF2-40B4-BE49-F238E27FC236}">
                      <a16:creationId xmlns:a16="http://schemas.microsoft.com/office/drawing/2014/main" id="{50545059-C613-4F64-974E-0DF2E004133A}"/>
                    </a:ext>
                  </a:extLst>
                </p:cNvPr>
                <p:cNvSpPr/>
                <p:nvPr/>
              </p:nvSpPr>
              <p:spPr>
                <a:xfrm>
                  <a:off x="2313608" y="2835726"/>
                  <a:ext cx="3664963" cy="70574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Rounded Corners 22">
                  <a:extLst>
                    <a:ext uri="{FF2B5EF4-FFF2-40B4-BE49-F238E27FC236}">
                      <a16:creationId xmlns:a16="http://schemas.microsoft.com/office/drawing/2014/main" id="{9E76B8B4-752E-485D-AB9E-1410186A18C1}"/>
                    </a:ext>
                  </a:extLst>
                </p:cNvPr>
                <p:cNvSpPr/>
                <p:nvPr/>
              </p:nvSpPr>
              <p:spPr>
                <a:xfrm>
                  <a:off x="3216224" y="2950661"/>
                  <a:ext cx="1852042" cy="48733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odel Driven Apps</a:t>
                  </a:r>
                </a:p>
              </p:txBody>
            </p:sp>
          </p:grpSp>
          <p:pic>
            <p:nvPicPr>
              <p:cNvPr id="21" name="Picture 2" descr="Image result for powerapps logo">
                <a:extLst>
                  <a:ext uri="{FF2B5EF4-FFF2-40B4-BE49-F238E27FC236}">
                    <a16:creationId xmlns:a16="http://schemas.microsoft.com/office/drawing/2014/main" id="{383920F4-ED45-4AC0-9C0A-891D86ECFC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29639" y="3737505"/>
                <a:ext cx="663586" cy="5408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8" name="Group 27">
            <a:extLst>
              <a:ext uri="{FF2B5EF4-FFF2-40B4-BE49-F238E27FC236}">
                <a16:creationId xmlns:a16="http://schemas.microsoft.com/office/drawing/2014/main" id="{EA6A995F-7332-4397-96D4-32A9E4360B31}"/>
              </a:ext>
            </a:extLst>
          </p:cNvPr>
          <p:cNvGrpSpPr/>
          <p:nvPr/>
        </p:nvGrpSpPr>
        <p:grpSpPr>
          <a:xfrm>
            <a:off x="11267653" y="2125030"/>
            <a:ext cx="775871" cy="3495266"/>
            <a:chOff x="10867067" y="1800772"/>
            <a:chExt cx="775871" cy="3495266"/>
          </a:xfrm>
        </p:grpSpPr>
        <p:sp>
          <p:nvSpPr>
            <p:cNvPr id="29" name="Rectangle: Rounded Corners 1">
              <a:extLst>
                <a:ext uri="{FF2B5EF4-FFF2-40B4-BE49-F238E27FC236}">
                  <a16:creationId xmlns:a16="http://schemas.microsoft.com/office/drawing/2014/main" id="{B2076240-A5E0-4A34-A372-7EEA2CAAFD46}"/>
                </a:ext>
              </a:extLst>
            </p:cNvPr>
            <p:cNvSpPr/>
            <p:nvPr/>
          </p:nvSpPr>
          <p:spPr>
            <a:xfrm>
              <a:off x="10867067" y="1800772"/>
              <a:ext cx="775869" cy="3495266"/>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0" name="Group 4">
              <a:extLst>
                <a:ext uri="{FF2B5EF4-FFF2-40B4-BE49-F238E27FC236}">
                  <a16:creationId xmlns:a16="http://schemas.microsoft.com/office/drawing/2014/main" id="{B54C0DE3-776B-4F7A-8BFD-3E8BF86E1AD0}"/>
                </a:ext>
              </a:extLst>
            </p:cNvPr>
            <p:cNvGrpSpPr>
              <a:grpSpLocks noChangeAspect="1"/>
            </p:cNvGrpSpPr>
            <p:nvPr/>
          </p:nvGrpSpPr>
          <p:grpSpPr bwMode="auto">
            <a:xfrm>
              <a:off x="10950983" y="1869466"/>
              <a:ext cx="581038" cy="458544"/>
              <a:chOff x="2792" y="3887"/>
              <a:chExt cx="305" cy="231"/>
            </a:xfrm>
            <a:solidFill>
              <a:srgbClr val="FFC000"/>
            </a:solidFill>
          </p:grpSpPr>
          <p:sp>
            <p:nvSpPr>
              <p:cNvPr id="32" name="Freeform 5">
                <a:extLst>
                  <a:ext uri="{FF2B5EF4-FFF2-40B4-BE49-F238E27FC236}">
                    <a16:creationId xmlns:a16="http://schemas.microsoft.com/office/drawing/2014/main" id="{62E76171-15D4-498C-A9CB-5E9EF0499ACC}"/>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6">
                <a:extLst>
                  <a:ext uri="{FF2B5EF4-FFF2-40B4-BE49-F238E27FC236}">
                    <a16:creationId xmlns:a16="http://schemas.microsoft.com/office/drawing/2014/main" id="{52F22572-508D-4EBB-8D38-F3A94A13136A}"/>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4" name="Freeform 7">
                <a:extLst>
                  <a:ext uri="{FF2B5EF4-FFF2-40B4-BE49-F238E27FC236}">
                    <a16:creationId xmlns:a16="http://schemas.microsoft.com/office/drawing/2014/main" id="{61E6F521-6E51-4A7F-9253-CA7E9AB40B33}"/>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5" name="Freeform 8">
                <a:extLst>
                  <a:ext uri="{FF2B5EF4-FFF2-40B4-BE49-F238E27FC236}">
                    <a16:creationId xmlns:a16="http://schemas.microsoft.com/office/drawing/2014/main" id="{71A6C0D7-2324-4197-9FFD-B307DF529D2E}"/>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6" name="Freeform 9">
                <a:extLst>
                  <a:ext uri="{FF2B5EF4-FFF2-40B4-BE49-F238E27FC236}">
                    <a16:creationId xmlns:a16="http://schemas.microsoft.com/office/drawing/2014/main" id="{3BEA62D3-25B1-413C-BF3E-D8C4A6DEB772}"/>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sp>
          <p:nvSpPr>
            <p:cNvPr id="31" name="TextBox 30">
              <a:extLst>
                <a:ext uri="{FF2B5EF4-FFF2-40B4-BE49-F238E27FC236}">
                  <a16:creationId xmlns:a16="http://schemas.microsoft.com/office/drawing/2014/main" id="{16FE1379-A875-4C14-A8EC-9CDA9219919A}"/>
                </a:ext>
              </a:extLst>
            </p:cNvPr>
            <p:cNvSpPr txBox="1"/>
            <p:nvPr/>
          </p:nvSpPr>
          <p:spPr>
            <a:xfrm rot="16200000">
              <a:off x="9542908" y="3196008"/>
              <a:ext cx="3424192" cy="775868"/>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 BI</a:t>
              </a:r>
            </a:p>
          </p:txBody>
        </p:sp>
      </p:grpSp>
      <p:grpSp>
        <p:nvGrpSpPr>
          <p:cNvPr id="37" name="Group 36">
            <a:extLst>
              <a:ext uri="{FF2B5EF4-FFF2-40B4-BE49-F238E27FC236}">
                <a16:creationId xmlns:a16="http://schemas.microsoft.com/office/drawing/2014/main" id="{0B655A1B-9F5A-4AC4-AE83-D23E5EB9A551}"/>
              </a:ext>
            </a:extLst>
          </p:cNvPr>
          <p:cNvGrpSpPr/>
          <p:nvPr/>
        </p:nvGrpSpPr>
        <p:grpSpPr>
          <a:xfrm>
            <a:off x="104306" y="5639137"/>
            <a:ext cx="11939216" cy="958215"/>
            <a:chOff x="104306" y="5639137"/>
            <a:chExt cx="11939216" cy="958215"/>
          </a:xfrm>
        </p:grpSpPr>
        <p:sp>
          <p:nvSpPr>
            <p:cNvPr id="38" name="Rectangle: Rounded Corners 1">
              <a:extLst>
                <a:ext uri="{FF2B5EF4-FFF2-40B4-BE49-F238E27FC236}">
                  <a16:creationId xmlns:a16="http://schemas.microsoft.com/office/drawing/2014/main" id="{39B8A9DF-C356-4168-8943-390CD512D33C}"/>
                </a:ext>
              </a:extLst>
            </p:cNvPr>
            <p:cNvSpPr/>
            <p:nvPr/>
          </p:nvSpPr>
          <p:spPr>
            <a:xfrm>
              <a:off x="104308" y="5734402"/>
              <a:ext cx="11939214" cy="751486"/>
            </a:xfrm>
            <a:prstGeom prst="roundRect">
              <a:avLst>
                <a:gd name="adj" fmla="val 14674"/>
              </a:avLst>
            </a:prstGeom>
            <a:solidFill>
              <a:schemeClr val="bg1">
                <a:lumMod val="95000"/>
              </a:schemeClr>
            </a:solidFill>
            <a:ln w="57150">
              <a:solidFill>
                <a:srgbClr val="2075B8"/>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Picture 6" descr="Image result for microsoft Azure Logo">
              <a:extLst>
                <a:ext uri="{FF2B5EF4-FFF2-40B4-BE49-F238E27FC236}">
                  <a16:creationId xmlns:a16="http://schemas.microsoft.com/office/drawing/2014/main" id="{1FF9849D-4E65-4E93-B23D-1015E3F0BBC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981" y="5639137"/>
              <a:ext cx="958215" cy="958215"/>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B95FFFBE-4468-4921-AFB8-5C5D118E1134}"/>
                </a:ext>
              </a:extLst>
            </p:cNvPr>
            <p:cNvSpPr txBox="1"/>
            <p:nvPr/>
          </p:nvSpPr>
          <p:spPr>
            <a:xfrm>
              <a:off x="104306" y="5754989"/>
              <a:ext cx="11939216" cy="707785"/>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zure Services</a:t>
              </a:r>
            </a:p>
          </p:txBody>
        </p:sp>
        <p:pic>
          <p:nvPicPr>
            <p:cNvPr id="41" name="Picture 40">
              <a:extLst>
                <a:ext uri="{FF2B5EF4-FFF2-40B4-BE49-F238E27FC236}">
                  <a16:creationId xmlns:a16="http://schemas.microsoft.com/office/drawing/2014/main" id="{F28DA9BD-0131-4567-9B08-7BC62272491F}"/>
                </a:ext>
              </a:extLst>
            </p:cNvPr>
            <p:cNvPicPr>
              <a:picLocks noChangeAspect="1"/>
            </p:cNvPicPr>
            <p:nvPr/>
          </p:nvPicPr>
          <p:blipFill>
            <a:blip r:embed="rId5"/>
            <a:stretch>
              <a:fillRect/>
            </a:stretch>
          </p:blipFill>
          <p:spPr>
            <a:xfrm>
              <a:off x="11411708" y="5822144"/>
              <a:ext cx="576000" cy="576000"/>
            </a:xfrm>
            <a:prstGeom prst="rect">
              <a:avLst/>
            </a:prstGeom>
          </p:spPr>
        </p:pic>
        <p:pic>
          <p:nvPicPr>
            <p:cNvPr id="42" name="Picture 41">
              <a:extLst>
                <a:ext uri="{FF2B5EF4-FFF2-40B4-BE49-F238E27FC236}">
                  <a16:creationId xmlns:a16="http://schemas.microsoft.com/office/drawing/2014/main" id="{07619AF9-1248-4B21-A48B-60D326607656}"/>
                </a:ext>
              </a:extLst>
            </p:cNvPr>
            <p:cNvPicPr>
              <a:picLocks noChangeAspect="1"/>
            </p:cNvPicPr>
            <p:nvPr/>
          </p:nvPicPr>
          <p:blipFill>
            <a:blip r:embed="rId6"/>
            <a:stretch>
              <a:fillRect/>
            </a:stretch>
          </p:blipFill>
          <p:spPr>
            <a:xfrm>
              <a:off x="10843672" y="5856271"/>
              <a:ext cx="504000" cy="504000"/>
            </a:xfrm>
            <a:prstGeom prst="rect">
              <a:avLst/>
            </a:prstGeom>
          </p:spPr>
        </p:pic>
        <p:pic>
          <p:nvPicPr>
            <p:cNvPr id="43" name="Picture 42">
              <a:extLst>
                <a:ext uri="{FF2B5EF4-FFF2-40B4-BE49-F238E27FC236}">
                  <a16:creationId xmlns:a16="http://schemas.microsoft.com/office/drawing/2014/main" id="{8E9E7E0C-6F4D-4071-8DAE-37671F261EE4}"/>
                </a:ext>
              </a:extLst>
            </p:cNvPr>
            <p:cNvPicPr>
              <a:picLocks noChangeAspect="1"/>
            </p:cNvPicPr>
            <p:nvPr/>
          </p:nvPicPr>
          <p:blipFill>
            <a:blip r:embed="rId7"/>
            <a:stretch>
              <a:fillRect/>
            </a:stretch>
          </p:blipFill>
          <p:spPr>
            <a:xfrm>
              <a:off x="10266062" y="5846697"/>
              <a:ext cx="513574" cy="513574"/>
            </a:xfrm>
            <a:prstGeom prst="rect">
              <a:avLst/>
            </a:prstGeom>
          </p:spPr>
        </p:pic>
        <p:pic>
          <p:nvPicPr>
            <p:cNvPr id="44" name="Picture 4" descr="Related image">
              <a:extLst>
                <a:ext uri="{FF2B5EF4-FFF2-40B4-BE49-F238E27FC236}">
                  <a16:creationId xmlns:a16="http://schemas.microsoft.com/office/drawing/2014/main" id="{385F8940-7673-442C-852B-26E0FECE983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17017" y="5860019"/>
              <a:ext cx="938506" cy="4927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F827E214-9BC6-4A40-B622-BAB4C8AA3996}"/>
              </a:ext>
            </a:extLst>
          </p:cNvPr>
          <p:cNvGrpSpPr/>
          <p:nvPr/>
        </p:nvGrpSpPr>
        <p:grpSpPr>
          <a:xfrm>
            <a:off x="113128" y="2078132"/>
            <a:ext cx="779968" cy="3503079"/>
            <a:chOff x="1514629" y="1783656"/>
            <a:chExt cx="779968" cy="3503079"/>
          </a:xfrm>
        </p:grpSpPr>
        <p:sp>
          <p:nvSpPr>
            <p:cNvPr id="46" name="Rectangle: Rounded Corners 1">
              <a:extLst>
                <a:ext uri="{FF2B5EF4-FFF2-40B4-BE49-F238E27FC236}">
                  <a16:creationId xmlns:a16="http://schemas.microsoft.com/office/drawing/2014/main" id="{02A901AE-39D6-47CD-AFFC-7D7D0187CC84}"/>
                </a:ext>
              </a:extLst>
            </p:cNvPr>
            <p:cNvSpPr/>
            <p:nvPr/>
          </p:nvSpPr>
          <p:spPr>
            <a:xfrm>
              <a:off x="1514629" y="1800772"/>
              <a:ext cx="775869" cy="3485962"/>
            </a:xfrm>
            <a:prstGeom prst="roundRect">
              <a:avLst>
                <a:gd name="adj" fmla="val 14674"/>
              </a:avLst>
            </a:prstGeom>
            <a:solidFill>
              <a:schemeClr val="bg1">
                <a:lumMod val="95000"/>
              </a:schemeClr>
            </a:solidFill>
            <a:ln w="57150">
              <a:solidFill>
                <a:srgbClr val="0070C9"/>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7" name="Picture 6" descr="Image result for SharePoint logo">
              <a:extLst>
                <a:ext uri="{FF2B5EF4-FFF2-40B4-BE49-F238E27FC236}">
                  <a16:creationId xmlns:a16="http://schemas.microsoft.com/office/drawing/2014/main" id="{E58D1258-ED6A-4D31-A2C3-132591DDF29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28670" y="1783656"/>
              <a:ext cx="765927" cy="793947"/>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A30C7F61-B82D-4F7C-9CB7-1AB1B12357E2}"/>
                </a:ext>
              </a:extLst>
            </p:cNvPr>
            <p:cNvSpPr txBox="1"/>
            <p:nvPr/>
          </p:nvSpPr>
          <p:spPr>
            <a:xfrm rot="16200000">
              <a:off x="164215" y="3160448"/>
              <a:ext cx="3502013" cy="750561"/>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SharePoint</a:t>
              </a:r>
            </a:p>
          </p:txBody>
        </p:sp>
      </p:grpSp>
      <p:grpSp>
        <p:nvGrpSpPr>
          <p:cNvPr id="49" name="Group 48">
            <a:extLst>
              <a:ext uri="{FF2B5EF4-FFF2-40B4-BE49-F238E27FC236}">
                <a16:creationId xmlns:a16="http://schemas.microsoft.com/office/drawing/2014/main" id="{FEB8213B-DA6C-4706-8585-35CFA2CEA1FE}"/>
              </a:ext>
            </a:extLst>
          </p:cNvPr>
          <p:cNvGrpSpPr/>
          <p:nvPr/>
        </p:nvGrpSpPr>
        <p:grpSpPr>
          <a:xfrm>
            <a:off x="1018723" y="2047762"/>
            <a:ext cx="806808" cy="3581838"/>
            <a:chOff x="599606" y="1704896"/>
            <a:chExt cx="806808" cy="3581838"/>
          </a:xfrm>
        </p:grpSpPr>
        <p:sp>
          <p:nvSpPr>
            <p:cNvPr id="50" name="Rectangle: Rounded Corners 1">
              <a:extLst>
                <a:ext uri="{FF2B5EF4-FFF2-40B4-BE49-F238E27FC236}">
                  <a16:creationId xmlns:a16="http://schemas.microsoft.com/office/drawing/2014/main" id="{02F8471E-DC7B-4B56-8612-DE2CB15657A0}"/>
                </a:ext>
              </a:extLst>
            </p:cNvPr>
            <p:cNvSpPr/>
            <p:nvPr/>
          </p:nvSpPr>
          <p:spPr>
            <a:xfrm>
              <a:off x="599606" y="1783656"/>
              <a:ext cx="775869" cy="3503078"/>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7A9A811C-2290-4AE1-A262-51B18003888A}"/>
                </a:ext>
              </a:extLst>
            </p:cNvPr>
            <p:cNvSpPr txBox="1"/>
            <p:nvPr/>
          </p:nvSpPr>
          <p:spPr>
            <a:xfrm rot="16200000">
              <a:off x="-755439" y="3155820"/>
              <a:ext cx="3485962" cy="775866"/>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Flow</a:t>
              </a:r>
            </a:p>
          </p:txBody>
        </p:sp>
        <p:pic>
          <p:nvPicPr>
            <p:cNvPr id="52" name="Picture 2" descr="Image result for Microsoft Flow logo">
              <a:extLst>
                <a:ext uri="{FF2B5EF4-FFF2-40B4-BE49-F238E27FC236}">
                  <a16:creationId xmlns:a16="http://schemas.microsoft.com/office/drawing/2014/main" id="{224C652F-2010-41D0-AFA7-3D00EB9B12C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1963" y="1704896"/>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Group 52">
            <a:extLst>
              <a:ext uri="{FF2B5EF4-FFF2-40B4-BE49-F238E27FC236}">
                <a16:creationId xmlns:a16="http://schemas.microsoft.com/office/drawing/2014/main" id="{84EBF912-4CC7-4697-A61D-45A2477E46D3}"/>
              </a:ext>
            </a:extLst>
          </p:cNvPr>
          <p:cNvGrpSpPr/>
          <p:nvPr/>
        </p:nvGrpSpPr>
        <p:grpSpPr>
          <a:xfrm>
            <a:off x="2240524" y="2127820"/>
            <a:ext cx="7680363" cy="610433"/>
            <a:chOff x="2735824" y="2127820"/>
            <a:chExt cx="7680363" cy="610433"/>
          </a:xfrm>
        </p:grpSpPr>
        <p:grpSp>
          <p:nvGrpSpPr>
            <p:cNvPr id="54" name="Group 53">
              <a:extLst>
                <a:ext uri="{FF2B5EF4-FFF2-40B4-BE49-F238E27FC236}">
                  <a16:creationId xmlns:a16="http://schemas.microsoft.com/office/drawing/2014/main" id="{34787E15-96FD-42F4-9414-CF002DE797D9}"/>
                </a:ext>
              </a:extLst>
            </p:cNvPr>
            <p:cNvGrpSpPr/>
            <p:nvPr/>
          </p:nvGrpSpPr>
          <p:grpSpPr>
            <a:xfrm>
              <a:off x="2735824" y="2441837"/>
              <a:ext cx="7680363" cy="296416"/>
              <a:chOff x="2299985" y="2473252"/>
              <a:chExt cx="7680363" cy="296416"/>
            </a:xfrm>
          </p:grpSpPr>
          <p:grpSp>
            <p:nvGrpSpPr>
              <p:cNvPr id="57" name="Group 56">
                <a:extLst>
                  <a:ext uri="{FF2B5EF4-FFF2-40B4-BE49-F238E27FC236}">
                    <a16:creationId xmlns:a16="http://schemas.microsoft.com/office/drawing/2014/main" id="{23E19E74-D069-48E4-9F7E-B75039C9F3C6}"/>
                  </a:ext>
                </a:extLst>
              </p:cNvPr>
              <p:cNvGrpSpPr/>
              <p:nvPr/>
            </p:nvGrpSpPr>
            <p:grpSpPr>
              <a:xfrm>
                <a:off x="6021754" y="2473252"/>
                <a:ext cx="288032" cy="288032"/>
                <a:chOff x="2268806" y="692696"/>
                <a:chExt cx="288032" cy="288032"/>
              </a:xfrm>
            </p:grpSpPr>
            <p:sp>
              <p:nvSpPr>
                <p:cNvPr id="66" name="Oval 65">
                  <a:extLst>
                    <a:ext uri="{FF2B5EF4-FFF2-40B4-BE49-F238E27FC236}">
                      <a16:creationId xmlns:a16="http://schemas.microsoft.com/office/drawing/2014/main" id="{A8957222-AB1D-4551-A4D4-A23A04FE75ED}"/>
                    </a:ext>
                  </a:extLst>
                </p:cNvPr>
                <p:cNvSpPr/>
                <p:nvPr/>
              </p:nvSpPr>
              <p:spPr>
                <a:xfrm>
                  <a:off x="2268806" y="692696"/>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7" name="Oval 66">
                  <a:extLst>
                    <a:ext uri="{FF2B5EF4-FFF2-40B4-BE49-F238E27FC236}">
                      <a16:creationId xmlns:a16="http://schemas.microsoft.com/office/drawing/2014/main" id="{15C6729B-5059-48B9-BF19-BDB0EBE60600}"/>
                    </a:ext>
                  </a:extLst>
                </p:cNvPr>
                <p:cNvSpPr/>
                <p:nvPr/>
              </p:nvSpPr>
              <p:spPr>
                <a:xfrm>
                  <a:off x="2329520" y="762990"/>
                  <a:ext cx="158918" cy="162302"/>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58" name="Group 57">
                <a:extLst>
                  <a:ext uri="{FF2B5EF4-FFF2-40B4-BE49-F238E27FC236}">
                    <a16:creationId xmlns:a16="http://schemas.microsoft.com/office/drawing/2014/main" id="{08F3AD4A-60AF-4410-B418-6550C41E350D}"/>
                  </a:ext>
                </a:extLst>
              </p:cNvPr>
              <p:cNvGrpSpPr/>
              <p:nvPr/>
            </p:nvGrpSpPr>
            <p:grpSpPr>
              <a:xfrm>
                <a:off x="2299985" y="2473252"/>
                <a:ext cx="288032" cy="288032"/>
                <a:chOff x="2268806" y="692696"/>
                <a:chExt cx="288032" cy="288032"/>
              </a:xfrm>
            </p:grpSpPr>
            <p:sp>
              <p:nvSpPr>
                <p:cNvPr id="64" name="Oval 63">
                  <a:extLst>
                    <a:ext uri="{FF2B5EF4-FFF2-40B4-BE49-F238E27FC236}">
                      <a16:creationId xmlns:a16="http://schemas.microsoft.com/office/drawing/2014/main" id="{C1EBBAC7-674F-4A08-B56D-90E594D751BD}"/>
                    </a:ext>
                  </a:extLst>
                </p:cNvPr>
                <p:cNvSpPr/>
                <p:nvPr/>
              </p:nvSpPr>
              <p:spPr>
                <a:xfrm>
                  <a:off x="2268806" y="692696"/>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5" name="Oval 64">
                  <a:extLst>
                    <a:ext uri="{FF2B5EF4-FFF2-40B4-BE49-F238E27FC236}">
                      <a16:creationId xmlns:a16="http://schemas.microsoft.com/office/drawing/2014/main" id="{26D3EE30-A1B7-4660-B08D-EEDE7C5AF238}"/>
                    </a:ext>
                  </a:extLst>
                </p:cNvPr>
                <p:cNvSpPr/>
                <p:nvPr/>
              </p:nvSpPr>
              <p:spPr>
                <a:xfrm>
                  <a:off x="2329520" y="762990"/>
                  <a:ext cx="158918" cy="162302"/>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cxnSp>
            <p:nvCxnSpPr>
              <p:cNvPr id="59" name="Straight Connector 58">
                <a:extLst>
                  <a:ext uri="{FF2B5EF4-FFF2-40B4-BE49-F238E27FC236}">
                    <a16:creationId xmlns:a16="http://schemas.microsoft.com/office/drawing/2014/main" id="{3BE4FE1A-6580-44FD-8577-4431537E5264}"/>
                  </a:ext>
                </a:extLst>
              </p:cNvPr>
              <p:cNvCxnSpPr>
                <a:endCxn id="66" idx="2"/>
              </p:cNvCxnSpPr>
              <p:nvPr/>
            </p:nvCxnSpPr>
            <p:spPr>
              <a:xfrm>
                <a:off x="2588017" y="2617268"/>
                <a:ext cx="3433737" cy="0"/>
              </a:xfrm>
              <a:prstGeom prst="line">
                <a:avLst/>
              </a:prstGeom>
              <a:ln w="44450"/>
            </p:spPr>
            <p:style>
              <a:lnRef idx="3">
                <a:schemeClr val="accent1"/>
              </a:lnRef>
              <a:fillRef idx="0">
                <a:schemeClr val="accent1"/>
              </a:fillRef>
              <a:effectRef idx="2">
                <a:schemeClr val="accent1"/>
              </a:effectRef>
              <a:fontRef idx="minor">
                <a:schemeClr val="tx1"/>
              </a:fontRef>
            </p:style>
          </p:cxnSp>
          <p:grpSp>
            <p:nvGrpSpPr>
              <p:cNvPr id="60" name="Group 59">
                <a:extLst>
                  <a:ext uri="{FF2B5EF4-FFF2-40B4-BE49-F238E27FC236}">
                    <a16:creationId xmlns:a16="http://schemas.microsoft.com/office/drawing/2014/main" id="{512BAE6D-0519-49A5-BCF3-08B96C046DC4}"/>
                  </a:ext>
                </a:extLst>
              </p:cNvPr>
              <p:cNvGrpSpPr/>
              <p:nvPr/>
            </p:nvGrpSpPr>
            <p:grpSpPr>
              <a:xfrm>
                <a:off x="9692316" y="2481636"/>
                <a:ext cx="288032" cy="288032"/>
                <a:chOff x="2268806" y="692696"/>
                <a:chExt cx="288032" cy="288032"/>
              </a:xfrm>
            </p:grpSpPr>
            <p:sp>
              <p:nvSpPr>
                <p:cNvPr id="62" name="Oval 61">
                  <a:extLst>
                    <a:ext uri="{FF2B5EF4-FFF2-40B4-BE49-F238E27FC236}">
                      <a16:creationId xmlns:a16="http://schemas.microsoft.com/office/drawing/2014/main" id="{17A5FE84-0714-4AB5-8A17-2C54AFD70429}"/>
                    </a:ext>
                  </a:extLst>
                </p:cNvPr>
                <p:cNvSpPr/>
                <p:nvPr/>
              </p:nvSpPr>
              <p:spPr>
                <a:xfrm>
                  <a:off x="2268806" y="692696"/>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3" name="Oval 62">
                  <a:extLst>
                    <a:ext uri="{FF2B5EF4-FFF2-40B4-BE49-F238E27FC236}">
                      <a16:creationId xmlns:a16="http://schemas.microsoft.com/office/drawing/2014/main" id="{83B24487-9618-4BE8-A627-D41AFE257DA7}"/>
                    </a:ext>
                  </a:extLst>
                </p:cNvPr>
                <p:cNvSpPr/>
                <p:nvPr/>
              </p:nvSpPr>
              <p:spPr>
                <a:xfrm>
                  <a:off x="2329520" y="762990"/>
                  <a:ext cx="158918" cy="162302"/>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cxnSp>
            <p:nvCxnSpPr>
              <p:cNvPr id="61" name="Straight Connector 60">
                <a:extLst>
                  <a:ext uri="{FF2B5EF4-FFF2-40B4-BE49-F238E27FC236}">
                    <a16:creationId xmlns:a16="http://schemas.microsoft.com/office/drawing/2014/main" id="{0097A511-897E-41E2-A952-08D5B48D05C5}"/>
                  </a:ext>
                </a:extLst>
              </p:cNvPr>
              <p:cNvCxnSpPr/>
              <p:nvPr/>
            </p:nvCxnSpPr>
            <p:spPr>
              <a:xfrm>
                <a:off x="6287641" y="2617268"/>
                <a:ext cx="3433737" cy="0"/>
              </a:xfrm>
              <a:prstGeom prst="line">
                <a:avLst/>
              </a:prstGeom>
              <a:ln w="44450"/>
            </p:spPr>
            <p:style>
              <a:lnRef idx="3">
                <a:schemeClr val="accent1"/>
              </a:lnRef>
              <a:fillRef idx="0">
                <a:schemeClr val="accent1"/>
              </a:fillRef>
              <a:effectRef idx="2">
                <a:schemeClr val="accent1"/>
              </a:effectRef>
              <a:fontRef idx="minor">
                <a:schemeClr val="tx1"/>
              </a:fontRef>
            </p:style>
          </p:cxnSp>
        </p:grpSp>
        <p:sp>
          <p:nvSpPr>
            <p:cNvPr id="55" name="TextBox 54">
              <a:extLst>
                <a:ext uri="{FF2B5EF4-FFF2-40B4-BE49-F238E27FC236}">
                  <a16:creationId xmlns:a16="http://schemas.microsoft.com/office/drawing/2014/main" id="{219D8440-6A30-444F-B4BE-DEEDDF128D7A}"/>
                </a:ext>
              </a:extLst>
            </p:cNvPr>
            <p:cNvSpPr txBox="1"/>
            <p:nvPr/>
          </p:nvSpPr>
          <p:spPr>
            <a:xfrm>
              <a:off x="3016170" y="2127820"/>
              <a:ext cx="3441423" cy="434045"/>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Business Process Flow</a:t>
              </a:r>
            </a:p>
          </p:txBody>
        </p:sp>
        <p:sp>
          <p:nvSpPr>
            <p:cNvPr id="56" name="TextBox 55">
              <a:extLst>
                <a:ext uri="{FF2B5EF4-FFF2-40B4-BE49-F238E27FC236}">
                  <a16:creationId xmlns:a16="http://schemas.microsoft.com/office/drawing/2014/main" id="{D7336852-76EB-43AC-8332-27341A77D55B}"/>
                </a:ext>
              </a:extLst>
            </p:cNvPr>
            <p:cNvSpPr txBox="1"/>
            <p:nvPr/>
          </p:nvSpPr>
          <p:spPr>
            <a:xfrm>
              <a:off x="6708551" y="2136728"/>
              <a:ext cx="3441423" cy="434045"/>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Automation &amp; Governance</a:t>
              </a:r>
            </a:p>
          </p:txBody>
        </p:sp>
      </p:grpSp>
      <p:grpSp>
        <p:nvGrpSpPr>
          <p:cNvPr id="68" name="Group 67">
            <a:extLst>
              <a:ext uri="{FF2B5EF4-FFF2-40B4-BE49-F238E27FC236}">
                <a16:creationId xmlns:a16="http://schemas.microsoft.com/office/drawing/2014/main" id="{2D4E86CD-2FCF-46BC-B8F5-D3DF3C07BCA4}"/>
              </a:ext>
            </a:extLst>
          </p:cNvPr>
          <p:cNvGrpSpPr/>
          <p:nvPr/>
        </p:nvGrpSpPr>
        <p:grpSpPr>
          <a:xfrm>
            <a:off x="103318" y="1220455"/>
            <a:ext cx="11940204" cy="751486"/>
            <a:chOff x="103318" y="1220455"/>
            <a:chExt cx="11940204" cy="751486"/>
          </a:xfrm>
        </p:grpSpPr>
        <p:sp>
          <p:nvSpPr>
            <p:cNvPr id="69" name="Rectangle: Rounded Corners 1">
              <a:extLst>
                <a:ext uri="{FF2B5EF4-FFF2-40B4-BE49-F238E27FC236}">
                  <a16:creationId xmlns:a16="http://schemas.microsoft.com/office/drawing/2014/main" id="{90EA7913-DD84-4730-B540-8AD2E4FEEB8D}"/>
                </a:ext>
              </a:extLst>
            </p:cNvPr>
            <p:cNvSpPr/>
            <p:nvPr/>
          </p:nvSpPr>
          <p:spPr>
            <a:xfrm>
              <a:off x="104306" y="1220455"/>
              <a:ext cx="11939216" cy="751486"/>
            </a:xfrm>
            <a:prstGeom prst="roundRect">
              <a:avLst>
                <a:gd name="adj" fmla="val 14674"/>
              </a:avLst>
            </a:prstGeom>
            <a:solidFill>
              <a:schemeClr val="bg1">
                <a:lumMod val="95000"/>
              </a:schemeClr>
            </a:solidFill>
            <a:ln w="57150">
              <a:solidFill>
                <a:srgbClr val="EB3C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0" name="Picture 2" descr="Image result for microsoft office logo">
              <a:extLst>
                <a:ext uri="{FF2B5EF4-FFF2-40B4-BE49-F238E27FC236}">
                  <a16:creationId xmlns:a16="http://schemas.microsoft.com/office/drawing/2014/main" id="{18387390-C246-4622-B626-3C2DEBDF4E5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9291" y="1289437"/>
              <a:ext cx="496874" cy="588887"/>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8D6922DF-E4EA-41A1-9451-DF00884C4BB3}"/>
                </a:ext>
              </a:extLst>
            </p:cNvPr>
            <p:cNvSpPr txBox="1"/>
            <p:nvPr/>
          </p:nvSpPr>
          <p:spPr>
            <a:xfrm>
              <a:off x="103318" y="1235408"/>
              <a:ext cx="11940204" cy="707785"/>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Office 365</a:t>
              </a:r>
            </a:p>
          </p:txBody>
        </p:sp>
      </p:grpSp>
      <p:grpSp>
        <p:nvGrpSpPr>
          <p:cNvPr id="72" name="Group 71">
            <a:extLst>
              <a:ext uri="{FF2B5EF4-FFF2-40B4-BE49-F238E27FC236}">
                <a16:creationId xmlns:a16="http://schemas.microsoft.com/office/drawing/2014/main" id="{21DAB11E-69F0-44FA-8808-4C01E467C4B0}"/>
              </a:ext>
            </a:extLst>
          </p:cNvPr>
          <p:cNvGrpSpPr/>
          <p:nvPr/>
        </p:nvGrpSpPr>
        <p:grpSpPr>
          <a:xfrm>
            <a:off x="6308633" y="2787386"/>
            <a:ext cx="3664963" cy="1518274"/>
            <a:chOff x="6746988" y="2803937"/>
            <a:chExt cx="3664963" cy="1518274"/>
          </a:xfrm>
        </p:grpSpPr>
        <p:grpSp>
          <p:nvGrpSpPr>
            <p:cNvPr id="73" name="Group 72">
              <a:extLst>
                <a:ext uri="{FF2B5EF4-FFF2-40B4-BE49-F238E27FC236}">
                  <a16:creationId xmlns:a16="http://schemas.microsoft.com/office/drawing/2014/main" id="{A595182F-364B-4C63-9EB0-88E94FA9BB85}"/>
                </a:ext>
              </a:extLst>
            </p:cNvPr>
            <p:cNvGrpSpPr/>
            <p:nvPr/>
          </p:nvGrpSpPr>
          <p:grpSpPr>
            <a:xfrm>
              <a:off x="6746988" y="2803937"/>
              <a:ext cx="3664963" cy="1518274"/>
              <a:chOff x="6746988" y="2460838"/>
              <a:chExt cx="3664963" cy="1518274"/>
            </a:xfrm>
          </p:grpSpPr>
          <p:grpSp>
            <p:nvGrpSpPr>
              <p:cNvPr id="79" name="Group 78">
                <a:extLst>
                  <a:ext uri="{FF2B5EF4-FFF2-40B4-BE49-F238E27FC236}">
                    <a16:creationId xmlns:a16="http://schemas.microsoft.com/office/drawing/2014/main" id="{00720A6B-B5BD-4CF5-8788-E8FB294F7837}"/>
                  </a:ext>
                </a:extLst>
              </p:cNvPr>
              <p:cNvGrpSpPr/>
              <p:nvPr/>
            </p:nvGrpSpPr>
            <p:grpSpPr>
              <a:xfrm>
                <a:off x="6746988" y="2460838"/>
                <a:ext cx="3664963" cy="1518274"/>
                <a:chOff x="6290979" y="2493693"/>
                <a:chExt cx="3664963" cy="1518274"/>
              </a:xfrm>
            </p:grpSpPr>
            <p:sp>
              <p:nvSpPr>
                <p:cNvPr id="81" name="Rectangle: Rounded Corners 8">
                  <a:extLst>
                    <a:ext uri="{FF2B5EF4-FFF2-40B4-BE49-F238E27FC236}">
                      <a16:creationId xmlns:a16="http://schemas.microsoft.com/office/drawing/2014/main" id="{87403B3A-B964-4F97-915D-05DA78C1306D}"/>
                    </a:ext>
                  </a:extLst>
                </p:cNvPr>
                <p:cNvSpPr/>
                <p:nvPr/>
              </p:nvSpPr>
              <p:spPr>
                <a:xfrm>
                  <a:off x="6290979" y="2493693"/>
                  <a:ext cx="3664963" cy="1518274"/>
                </a:xfrm>
                <a:prstGeom prst="roundRect">
                  <a:avLst>
                    <a:gd name="adj" fmla="val 8999"/>
                  </a:avLst>
                </a:prstGeom>
                <a:noFill/>
                <a:ln w="57150">
                  <a:solidFill>
                    <a:srgbClr val="14465C"/>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Rectangle: Rounded Corners 11">
                  <a:extLst>
                    <a:ext uri="{FF2B5EF4-FFF2-40B4-BE49-F238E27FC236}">
                      <a16:creationId xmlns:a16="http://schemas.microsoft.com/office/drawing/2014/main" id="{341EBA81-AD7A-4C19-86E3-2A994BB55700}"/>
                    </a:ext>
                  </a:extLst>
                </p:cNvPr>
                <p:cNvSpPr/>
                <p:nvPr/>
              </p:nvSpPr>
              <p:spPr>
                <a:xfrm>
                  <a:off x="6980211" y="2655500"/>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Marketing</a:t>
                  </a:r>
                </a:p>
              </p:txBody>
            </p:sp>
          </p:grpSp>
          <p:pic>
            <p:nvPicPr>
              <p:cNvPr id="80" name="Picture 79">
                <a:extLst>
                  <a:ext uri="{FF2B5EF4-FFF2-40B4-BE49-F238E27FC236}">
                    <a16:creationId xmlns:a16="http://schemas.microsoft.com/office/drawing/2014/main" id="{E26DE549-D700-4A6A-8D5C-7D7BE25E62B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46988" y="2878660"/>
                <a:ext cx="698118" cy="695353"/>
              </a:xfrm>
              <a:prstGeom prst="rect">
                <a:avLst/>
              </a:prstGeom>
            </p:spPr>
          </p:pic>
        </p:grpSp>
        <p:sp>
          <p:nvSpPr>
            <p:cNvPr id="74" name="Rectangle: Rounded Corners 11">
              <a:extLst>
                <a:ext uri="{FF2B5EF4-FFF2-40B4-BE49-F238E27FC236}">
                  <a16:creationId xmlns:a16="http://schemas.microsoft.com/office/drawing/2014/main" id="{44BAA8C7-CCDC-4EFF-9C3C-3C3913DECB7C}"/>
                </a:ext>
              </a:extLst>
            </p:cNvPr>
            <p:cNvSpPr/>
            <p:nvPr/>
          </p:nvSpPr>
          <p:spPr>
            <a:xfrm>
              <a:off x="8437796" y="2958105"/>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Sales</a:t>
              </a:r>
            </a:p>
          </p:txBody>
        </p:sp>
        <p:sp>
          <p:nvSpPr>
            <p:cNvPr id="75" name="Rectangle: Rounded Corners 11">
              <a:extLst>
                <a:ext uri="{FF2B5EF4-FFF2-40B4-BE49-F238E27FC236}">
                  <a16:creationId xmlns:a16="http://schemas.microsoft.com/office/drawing/2014/main" id="{14820DDD-C363-4E87-987E-1AA76F717A32}"/>
                </a:ext>
              </a:extLst>
            </p:cNvPr>
            <p:cNvSpPr/>
            <p:nvPr/>
          </p:nvSpPr>
          <p:spPr>
            <a:xfrm>
              <a:off x="9404791" y="2965744"/>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Service</a:t>
              </a:r>
            </a:p>
          </p:txBody>
        </p:sp>
        <p:sp>
          <p:nvSpPr>
            <p:cNvPr id="76" name="Rectangle: Rounded Corners 11">
              <a:extLst>
                <a:ext uri="{FF2B5EF4-FFF2-40B4-BE49-F238E27FC236}">
                  <a16:creationId xmlns:a16="http://schemas.microsoft.com/office/drawing/2014/main" id="{EDF57600-86C2-4081-96A5-D307A07CC589}"/>
                </a:ext>
              </a:extLst>
            </p:cNvPr>
            <p:cNvSpPr/>
            <p:nvPr/>
          </p:nvSpPr>
          <p:spPr>
            <a:xfrm>
              <a:off x="7436219" y="3658990"/>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Field Service</a:t>
              </a:r>
            </a:p>
          </p:txBody>
        </p:sp>
        <p:sp>
          <p:nvSpPr>
            <p:cNvPr id="77" name="Rectangle: Rounded Corners 11">
              <a:extLst>
                <a:ext uri="{FF2B5EF4-FFF2-40B4-BE49-F238E27FC236}">
                  <a16:creationId xmlns:a16="http://schemas.microsoft.com/office/drawing/2014/main" id="{1ED64EDB-AA17-4989-8468-B3C136529B09}"/>
                </a:ext>
              </a:extLst>
            </p:cNvPr>
            <p:cNvSpPr/>
            <p:nvPr/>
          </p:nvSpPr>
          <p:spPr>
            <a:xfrm>
              <a:off x="8437795" y="3643892"/>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PSA</a:t>
              </a:r>
            </a:p>
          </p:txBody>
        </p:sp>
        <p:sp>
          <p:nvSpPr>
            <p:cNvPr id="78" name="Rectangle: Rounded Corners 11">
              <a:extLst>
                <a:ext uri="{FF2B5EF4-FFF2-40B4-BE49-F238E27FC236}">
                  <a16:creationId xmlns:a16="http://schemas.microsoft.com/office/drawing/2014/main" id="{94DFA5EB-DCA5-493C-AC5C-C9EBB12F24CF}"/>
                </a:ext>
              </a:extLst>
            </p:cNvPr>
            <p:cNvSpPr/>
            <p:nvPr/>
          </p:nvSpPr>
          <p:spPr>
            <a:xfrm>
              <a:off x="9434721" y="3646850"/>
              <a:ext cx="863537" cy="516244"/>
            </a:xfrm>
            <a:prstGeom prst="roundRect">
              <a:avLst/>
            </a:prstGeom>
            <a:solidFill>
              <a:srgbClr val="13224D"/>
            </a:solidFill>
            <a:ln w="38100">
              <a:solidFill>
                <a:srgbClr val="1322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Talent</a:t>
              </a:r>
            </a:p>
          </p:txBody>
        </p:sp>
      </p:grpSp>
      <p:grpSp>
        <p:nvGrpSpPr>
          <p:cNvPr id="83" name="Group 82">
            <a:extLst>
              <a:ext uri="{FF2B5EF4-FFF2-40B4-BE49-F238E27FC236}">
                <a16:creationId xmlns:a16="http://schemas.microsoft.com/office/drawing/2014/main" id="{5FCD34DC-3370-44E6-9B3D-04AADE0316C3}"/>
              </a:ext>
            </a:extLst>
          </p:cNvPr>
          <p:cNvGrpSpPr/>
          <p:nvPr/>
        </p:nvGrpSpPr>
        <p:grpSpPr>
          <a:xfrm>
            <a:off x="10336481" y="2125030"/>
            <a:ext cx="775885" cy="3495266"/>
            <a:chOff x="10336481" y="2125030"/>
            <a:chExt cx="775885" cy="3495266"/>
          </a:xfrm>
        </p:grpSpPr>
        <p:sp>
          <p:nvSpPr>
            <p:cNvPr id="84" name="Rectangle: Rounded Corners 1">
              <a:extLst>
                <a:ext uri="{FF2B5EF4-FFF2-40B4-BE49-F238E27FC236}">
                  <a16:creationId xmlns:a16="http://schemas.microsoft.com/office/drawing/2014/main" id="{2AAFCBE5-79AB-4B2A-BFE5-A4E959A43184}"/>
                </a:ext>
              </a:extLst>
            </p:cNvPr>
            <p:cNvSpPr/>
            <p:nvPr/>
          </p:nvSpPr>
          <p:spPr>
            <a:xfrm>
              <a:off x="10336481" y="2125030"/>
              <a:ext cx="775869" cy="3495266"/>
            </a:xfrm>
            <a:prstGeom prst="roundRect">
              <a:avLst>
                <a:gd name="adj" fmla="val 14674"/>
              </a:avLst>
            </a:prstGeom>
            <a:solidFill>
              <a:schemeClr val="bg1">
                <a:lumMod val="95000"/>
              </a:schemeClr>
            </a:solidFill>
            <a:ln w="57150">
              <a:solidFill>
                <a:srgbClr val="17244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TextBox 84">
              <a:extLst>
                <a:ext uri="{FF2B5EF4-FFF2-40B4-BE49-F238E27FC236}">
                  <a16:creationId xmlns:a16="http://schemas.microsoft.com/office/drawing/2014/main" id="{CC45B145-28F6-4CD7-B5B6-A12A185A4FB8}"/>
                </a:ext>
              </a:extLst>
            </p:cNvPr>
            <p:cNvSpPr txBox="1"/>
            <p:nvPr/>
          </p:nvSpPr>
          <p:spPr>
            <a:xfrm rot="16200000">
              <a:off x="8996733" y="3504662"/>
              <a:ext cx="3455398" cy="775868"/>
            </a:xfrm>
            <a:prstGeom prst="rect">
              <a:avLst/>
            </a:prstGeom>
          </p:spPr>
          <p:txBody>
            <a:bodyPr vert="horz"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err="1">
                  <a:ln>
                    <a:noFill/>
                  </a:ln>
                  <a:solidFill>
                    <a:prstClr val="black"/>
                  </a:solidFill>
                  <a:effectLst/>
                  <a:uLnTx/>
                  <a:uFillTx/>
                  <a:latin typeface="Calibri" panose="020F0502020204030204"/>
                  <a:ea typeface="+mn-ea"/>
                  <a:cs typeface="+mn-cs"/>
                </a:rPr>
                <a:t>FinOps</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6" name="Picture 2" descr="Image result for D365 Finance &amp; Operations logo">
              <a:extLst>
                <a:ext uri="{FF2B5EF4-FFF2-40B4-BE49-F238E27FC236}">
                  <a16:creationId xmlns:a16="http://schemas.microsoft.com/office/drawing/2014/main" id="{43ACCBCC-BA22-47EF-8EFC-E7F89FB2CD2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404251" y="2185561"/>
              <a:ext cx="626883" cy="54486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69922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fade">
                                      <p:cBhvr>
                                        <p:cTn id="20" dur="500"/>
                                        <p:tgtEl>
                                          <p:spTgt spid="53"/>
                                        </p:tgtEl>
                                      </p:cBhvr>
                                    </p:animEffect>
                                  </p:childTnLst>
                                </p:cTn>
                              </p:par>
                              <p:par>
                                <p:cTn id="21" presetID="10" presetClass="entr" presetSubtype="0" fill="hold" nodeType="with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5"/>
                                        </p:tgtEl>
                                        <p:attrNameLst>
                                          <p:attrName>style.visibility</p:attrName>
                                        </p:attrNameLst>
                                      </p:cBhvr>
                                      <p:to>
                                        <p:strVal val="visible"/>
                                      </p:to>
                                    </p:set>
                                    <p:animEffect transition="in" filter="fade">
                                      <p:cBhvr>
                                        <p:cTn id="33" dur="500"/>
                                        <p:tgtEl>
                                          <p:spTgt spid="4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2"/>
                                        </p:tgtEl>
                                        <p:attrNameLst>
                                          <p:attrName>style.visibility</p:attrName>
                                        </p:attrNameLst>
                                      </p:cBhvr>
                                      <p:to>
                                        <p:strVal val="visible"/>
                                      </p:to>
                                    </p:set>
                                    <p:animEffect transition="in" filter="fade">
                                      <p:cBhvr>
                                        <p:cTn id="38" dur="500"/>
                                        <p:tgtEl>
                                          <p:spTgt spid="7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68"/>
                                        </p:tgtEl>
                                        <p:attrNameLst>
                                          <p:attrName>style.visibility</p:attrName>
                                        </p:attrNameLst>
                                      </p:cBhvr>
                                      <p:to>
                                        <p:strVal val="visible"/>
                                      </p:to>
                                    </p:set>
                                    <p:animEffect transition="in" filter="fade">
                                      <p:cBhvr>
                                        <p:cTn id="48" dur="500"/>
                                        <p:tgtEl>
                                          <p:spTgt spid="68"/>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fade">
                                      <p:cBhvr>
                                        <p:cTn id="5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6AE32132-DEED-4A96-8CB6-B08AFD0D82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42"/>
            <a:ext cx="12192000" cy="6854915"/>
          </a:xfrm>
          <a:prstGeom prst="rect">
            <a:avLst/>
          </a:prstGeom>
        </p:spPr>
      </p:pic>
    </p:spTree>
    <p:extLst>
      <p:ext uri="{BB962C8B-B14F-4D97-AF65-F5344CB8AC3E}">
        <p14:creationId xmlns:p14="http://schemas.microsoft.com/office/powerpoint/2010/main" val="38351792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A931AC0-4A74-1542-90E2-C33B2F9E9610}"/>
              </a:ext>
            </a:extLst>
          </p:cNvPr>
          <p:cNvSpPr/>
          <p:nvPr/>
        </p:nvSpPr>
        <p:spPr bwMode="auto">
          <a:xfrm>
            <a:off x="568048" y="2553667"/>
            <a:ext cx="1274264" cy="27116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riangle 19">
            <a:extLst>
              <a:ext uri="{FF2B5EF4-FFF2-40B4-BE49-F238E27FC236}">
                <a16:creationId xmlns:a16="http://schemas.microsoft.com/office/drawing/2014/main" id="{FCA64C4F-8F13-9A42-9C18-3A6726F72AF8}"/>
              </a:ext>
            </a:extLst>
          </p:cNvPr>
          <p:cNvSpPr/>
          <p:nvPr/>
        </p:nvSpPr>
        <p:spPr bwMode="auto">
          <a:xfrm>
            <a:off x="568896" y="1748604"/>
            <a:ext cx="10524111" cy="827040"/>
          </a:xfrm>
          <a:custGeom>
            <a:avLst/>
            <a:gdLst>
              <a:gd name="connsiteX0" fmla="*/ 0 w 12276558"/>
              <a:gd name="connsiteY0" fmla="*/ 843624 h 843624"/>
              <a:gd name="connsiteX1" fmla="*/ 12276558 w 12276558"/>
              <a:gd name="connsiteY1" fmla="*/ 0 h 843624"/>
              <a:gd name="connsiteX2" fmla="*/ 12276558 w 12276558"/>
              <a:gd name="connsiteY2" fmla="*/ 843624 h 843624"/>
              <a:gd name="connsiteX3" fmla="*/ 0 w 12276558"/>
              <a:gd name="connsiteY3" fmla="*/ 843624 h 843624"/>
              <a:gd name="connsiteX0" fmla="*/ 0 w 12276558"/>
              <a:gd name="connsiteY0" fmla="*/ 843624 h 843624"/>
              <a:gd name="connsiteX1" fmla="*/ 1522817 w 12276558"/>
              <a:gd name="connsiteY1" fmla="*/ 729769 h 843624"/>
              <a:gd name="connsiteX2" fmla="*/ 12276558 w 12276558"/>
              <a:gd name="connsiteY2" fmla="*/ 0 h 843624"/>
              <a:gd name="connsiteX3" fmla="*/ 12276558 w 12276558"/>
              <a:gd name="connsiteY3" fmla="*/ 843624 h 843624"/>
              <a:gd name="connsiteX4" fmla="*/ 0 w 12276558"/>
              <a:gd name="connsiteY4" fmla="*/ 843624 h 843624"/>
              <a:gd name="connsiteX0" fmla="*/ 18600 w 10753741"/>
              <a:gd name="connsiteY0" fmla="*/ 843624 h 843624"/>
              <a:gd name="connsiteX1" fmla="*/ 0 w 10753741"/>
              <a:gd name="connsiteY1" fmla="*/ 729769 h 843624"/>
              <a:gd name="connsiteX2" fmla="*/ 10753741 w 10753741"/>
              <a:gd name="connsiteY2" fmla="*/ 0 h 843624"/>
              <a:gd name="connsiteX3" fmla="*/ 10753741 w 10753741"/>
              <a:gd name="connsiteY3" fmla="*/ 843624 h 843624"/>
              <a:gd name="connsiteX4" fmla="*/ 18600 w 107537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141" h="843624">
                <a:moveTo>
                  <a:pt x="0" y="843624"/>
                </a:moveTo>
                <a:cubicBezTo>
                  <a:pt x="3207" y="764280"/>
                  <a:pt x="12059" y="600268"/>
                  <a:pt x="9622" y="605591"/>
                </a:cubicBezTo>
                <a:lnTo>
                  <a:pt x="10735141" y="0"/>
                </a:lnTo>
                <a:lnTo>
                  <a:pt x="10735141" y="843624"/>
                </a:lnTo>
                <a:lnTo>
                  <a:pt x="0" y="843624"/>
                </a:lnTo>
                <a:close/>
              </a:path>
            </a:pathLst>
          </a:custGeom>
          <a:solidFill>
            <a:srgbClr val="D9D9DA">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417AA44D-9B73-A049-843D-127B61CCC555}"/>
              </a:ext>
            </a:extLst>
          </p:cNvPr>
          <p:cNvSpPr>
            <a:spLocks noGrp="1"/>
          </p:cNvSpPr>
          <p:nvPr>
            <p:ph type="body" sz="quarter" idx="32"/>
          </p:nvPr>
        </p:nvSpPr>
        <p:spPr>
          <a:xfrm>
            <a:off x="580638" y="3003483"/>
            <a:ext cx="3236949" cy="2375650"/>
          </a:xfrm>
        </p:spPr>
        <p:txBody>
          <a:bodyPr/>
          <a:lstStyle/>
          <a:p>
            <a:pPr defTabSz="932293" fontAlgn="base">
              <a:spcBef>
                <a:spcPts val="1176"/>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Intuitive to use &amp; easy to learn for Citizen Developers</a:t>
            </a:r>
          </a:p>
          <a:p>
            <a:pPr defTabSz="932293" fontAlgn="base">
              <a:spcBef>
                <a:spcPts val="1176"/>
              </a:spcBef>
              <a:spcAft>
                <a:spcPts val="588"/>
              </a:spcAft>
            </a:pPr>
            <a:r>
              <a:rPr lang="en-GB" sz="1568" b="0" dirty="0">
                <a:latin typeface="Segoe UI Light" panose="020B0502040204020203" pitchFamily="34" charset="0"/>
                <a:ea typeface="Segoe UI" pitchFamily="34" charset="0"/>
                <a:cs typeface="Segoe UI Light" panose="020B0502040204020203" pitchFamily="34" charset="0"/>
              </a:rPr>
              <a:t>Build apps fast with a point-and-click approach to app design. Choose from a large selection of templates or start from a blank canvas. </a:t>
            </a:r>
          </a:p>
          <a:p>
            <a:pPr defTabSz="932293" fontAlgn="base">
              <a:spcBef>
                <a:spcPts val="1176"/>
              </a:spcBef>
              <a:spcAft>
                <a:spcPts val="588"/>
              </a:spcAft>
            </a:pPr>
            <a:r>
              <a:rPr lang="en-GB" sz="1568" b="0" dirty="0">
                <a:latin typeface="Segoe UI Light" panose="020B0502040204020203" pitchFamily="34" charset="0"/>
                <a:ea typeface="Segoe UI" pitchFamily="34" charset="0"/>
                <a:cs typeface="Segoe UI Light" panose="020B0502040204020203" pitchFamily="34" charset="0"/>
              </a:rPr>
              <a:t>Easily connect your app to data and use Excel-like expressions to easily add logic.</a:t>
            </a:r>
          </a:p>
        </p:txBody>
      </p:sp>
      <p:sp>
        <p:nvSpPr>
          <p:cNvPr id="4" name="Title 3">
            <a:extLst>
              <a:ext uri="{FF2B5EF4-FFF2-40B4-BE49-F238E27FC236}">
                <a16:creationId xmlns:a16="http://schemas.microsoft.com/office/drawing/2014/main" id="{C8A678AA-A824-8B41-A3F6-1F2B5E84B220}"/>
              </a:ext>
            </a:extLst>
          </p:cNvPr>
          <p:cNvSpPr>
            <a:spLocks noGrp="1"/>
          </p:cNvSpPr>
          <p:nvPr>
            <p:ph type="title"/>
          </p:nvPr>
        </p:nvSpPr>
        <p:spPr>
          <a:xfrm>
            <a:off x="568048" y="561645"/>
            <a:ext cx="11055906" cy="739238"/>
          </a:xfrm>
        </p:spPr>
        <p:txBody>
          <a:bodyPr/>
          <a:lstStyle/>
          <a:p>
            <a:r>
              <a:rPr lang="en-US" dirty="0">
                <a:solidFill>
                  <a:schemeClr val="tx1"/>
                </a:solidFill>
              </a:rPr>
              <a:t>A platform for all makers</a:t>
            </a:r>
          </a:p>
        </p:txBody>
      </p:sp>
      <p:sp>
        <p:nvSpPr>
          <p:cNvPr id="3" name="Text Placeholder 2">
            <a:extLst>
              <a:ext uri="{FF2B5EF4-FFF2-40B4-BE49-F238E27FC236}">
                <a16:creationId xmlns:a16="http://schemas.microsoft.com/office/drawing/2014/main" id="{0781755E-4E33-2D40-814F-AE8F230D0579}"/>
              </a:ext>
            </a:extLst>
          </p:cNvPr>
          <p:cNvSpPr>
            <a:spLocks noGrp="1"/>
          </p:cNvSpPr>
          <p:nvPr>
            <p:ph type="body" sz="quarter" idx="12"/>
          </p:nvPr>
        </p:nvSpPr>
        <p:spPr>
          <a:xfrm>
            <a:off x="580637" y="1219729"/>
            <a:ext cx="11046887" cy="301727"/>
          </a:xfrm>
        </p:spPr>
        <p:txBody>
          <a:bodyPr/>
          <a:lstStyle/>
          <a:p>
            <a:r>
              <a:rPr lang="en-US">
                <a:solidFill>
                  <a:schemeClr val="tx1"/>
                </a:solidFill>
              </a:rPr>
              <a:t>Citizen Developer, IT Administrator, Professional Developer, App Wizard. We’ve got you.</a:t>
            </a:r>
          </a:p>
        </p:txBody>
      </p:sp>
      <p:sp>
        <p:nvSpPr>
          <p:cNvPr id="12" name="Text Placeholder 11">
            <a:extLst>
              <a:ext uri="{FF2B5EF4-FFF2-40B4-BE49-F238E27FC236}">
                <a16:creationId xmlns:a16="http://schemas.microsoft.com/office/drawing/2014/main" id="{F43EBFC2-D56E-6448-9281-C0A28036B540}"/>
              </a:ext>
            </a:extLst>
          </p:cNvPr>
          <p:cNvSpPr>
            <a:spLocks noGrp="1"/>
          </p:cNvSpPr>
          <p:nvPr>
            <p:ph type="body" sz="quarter" idx="42"/>
          </p:nvPr>
        </p:nvSpPr>
        <p:spPr>
          <a:xfrm>
            <a:off x="4653141" y="3003484"/>
            <a:ext cx="3191798" cy="2609932"/>
          </a:xfrm>
        </p:spPr>
        <p:txBody>
          <a:bodyPr/>
          <a:lstStyle/>
          <a:p>
            <a:pPr defTabSz="932293" fontAlgn="base">
              <a:spcBef>
                <a:spcPts val="1176"/>
              </a:spcBef>
              <a:spcAft>
                <a:spcPts val="0"/>
              </a:spcAft>
            </a:pPr>
            <a:r>
              <a:rPr lang="en-GB" b="0">
                <a:solidFill>
                  <a:srgbClr val="742772"/>
                </a:solidFill>
                <a:latin typeface="Segoe UI Semibold" panose="020B0702040204020203" pitchFamily="34" charset="0"/>
                <a:ea typeface="Segoe UI" pitchFamily="34" charset="0"/>
                <a:cs typeface="Segoe UI Semibold" panose="020B0702040204020203" pitchFamily="34" charset="0"/>
              </a:rPr>
              <a:t>One admin </a:t>
            </a:r>
            <a:r>
              <a:rPr lang="en-GB" b="0" err="1">
                <a:solidFill>
                  <a:srgbClr val="742772"/>
                </a:solidFill>
                <a:latin typeface="Segoe UI Semibold" panose="020B0702040204020203" pitchFamily="34" charset="0"/>
                <a:ea typeface="Segoe UI" pitchFamily="34" charset="0"/>
                <a:cs typeface="Segoe UI Semibold" panose="020B0702040204020203" pitchFamily="34" charset="0"/>
              </a:rPr>
              <a:t>center</a:t>
            </a:r>
            <a:r>
              <a:rPr lang="en-GB" b="0">
                <a:solidFill>
                  <a:srgbClr val="742772"/>
                </a:solidFill>
                <a:latin typeface="Segoe UI Semibold" panose="020B0702040204020203" pitchFamily="34" charset="0"/>
                <a:ea typeface="Segoe UI" pitchFamily="34" charset="0"/>
                <a:cs typeface="Segoe UI Semibold" panose="020B0702040204020203" pitchFamily="34" charset="0"/>
              </a:rPr>
              <a:t> to rule them all for IT Administrators</a:t>
            </a:r>
          </a:p>
          <a:p>
            <a:pPr defTabSz="932293" fontAlgn="base">
              <a:spcBef>
                <a:spcPts val="1176"/>
              </a:spcBef>
              <a:spcAft>
                <a:spcPts val="588"/>
              </a:spcAft>
            </a:pPr>
            <a:r>
              <a:rPr lang="en-GB" sz="1568" b="0">
                <a:latin typeface="Segoe UI Light" panose="020B0502040204020203" pitchFamily="34" charset="0"/>
                <a:ea typeface="Segoe UI" pitchFamily="34" charset="0"/>
                <a:cs typeface="Segoe UI Light" panose="020B0502040204020203" pitchFamily="34" charset="0"/>
              </a:rPr>
              <a:t>No compromises on governance and security. One centralized view and management of all your 1 &amp; 3rd party apps, eliminating shadow IT.</a:t>
            </a:r>
          </a:p>
          <a:p>
            <a:pPr defTabSz="932293" fontAlgn="base">
              <a:spcBef>
                <a:spcPts val="1176"/>
              </a:spcBef>
              <a:spcAft>
                <a:spcPts val="588"/>
              </a:spcAft>
            </a:pPr>
            <a:r>
              <a:rPr lang="en-GB" sz="1568" b="0">
                <a:latin typeface="Segoe UI Light" panose="020B0502040204020203" pitchFamily="34" charset="0"/>
                <a:ea typeface="Segoe UI" pitchFamily="34" charset="0"/>
                <a:cs typeface="Segoe UI Light" panose="020B0502040204020203" pitchFamily="34" charset="0"/>
              </a:rPr>
              <a:t>GDPR compliance, and enterprise grade security, consistent with</a:t>
            </a:r>
            <a:br>
              <a:rPr lang="en-GB" sz="1568" b="0">
                <a:latin typeface="Segoe UI Light" panose="020B0502040204020203" pitchFamily="34" charset="0"/>
                <a:ea typeface="Segoe UI" pitchFamily="34" charset="0"/>
                <a:cs typeface="Segoe UI Light" panose="020B0502040204020203" pitchFamily="34" charset="0"/>
              </a:rPr>
            </a:br>
            <a:r>
              <a:rPr lang="en-GB" sz="1568" b="0">
                <a:latin typeface="Segoe UI Light" panose="020B0502040204020203" pitchFamily="34" charset="0"/>
                <a:ea typeface="Segoe UI" pitchFamily="34" charset="0"/>
                <a:cs typeface="Segoe UI Light" panose="020B0502040204020203" pitchFamily="34" charset="0"/>
              </a:rPr>
              <a:t>the experience across O365 &amp; D365.</a:t>
            </a:r>
          </a:p>
        </p:txBody>
      </p:sp>
      <p:sp>
        <p:nvSpPr>
          <p:cNvPr id="5" name="people_23" title="Icon of a person with a chat bubble above them">
            <a:extLst>
              <a:ext uri="{FF2B5EF4-FFF2-40B4-BE49-F238E27FC236}">
                <a16:creationId xmlns:a16="http://schemas.microsoft.com/office/drawing/2014/main" id="{E6962681-D313-5941-BA1E-0C0D13D12CAC}"/>
              </a:ext>
            </a:extLst>
          </p:cNvPr>
          <p:cNvSpPr>
            <a:spLocks noChangeAspect="1" noEditPoints="1"/>
          </p:cNvSpPr>
          <p:nvPr/>
        </p:nvSpPr>
        <p:spPr bwMode="auto">
          <a:xfrm>
            <a:off x="1934257" y="1813455"/>
            <a:ext cx="569887" cy="563856"/>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solidFill>
                <a:srgbClr val="FFFFFF"/>
              </a:solidFill>
              <a:latin typeface="Segoe UI"/>
            </a:endParaRPr>
          </a:p>
        </p:txBody>
      </p:sp>
      <p:pic>
        <p:nvPicPr>
          <p:cNvPr id="2" name="Picture 1">
            <a:extLst>
              <a:ext uri="{FF2B5EF4-FFF2-40B4-BE49-F238E27FC236}">
                <a16:creationId xmlns:a16="http://schemas.microsoft.com/office/drawing/2014/main" id="{C53E4F3B-D8ED-9B4C-BD3E-229C0005AA24}"/>
              </a:ext>
            </a:extLst>
          </p:cNvPr>
          <p:cNvPicPr>
            <a:picLocks noChangeAspect="1"/>
          </p:cNvPicPr>
          <p:nvPr/>
        </p:nvPicPr>
        <p:blipFill>
          <a:blip r:embed="rId3"/>
          <a:stretch>
            <a:fillRect/>
          </a:stretch>
        </p:blipFill>
        <p:spPr>
          <a:xfrm>
            <a:off x="5601178" y="1896195"/>
            <a:ext cx="663023" cy="541244"/>
          </a:xfrm>
          <a:prstGeom prst="rect">
            <a:avLst/>
          </a:prstGeom>
        </p:spPr>
      </p:pic>
      <p:sp>
        <p:nvSpPr>
          <p:cNvPr id="24" name="Text Placeholder 12">
            <a:extLst>
              <a:ext uri="{FF2B5EF4-FFF2-40B4-BE49-F238E27FC236}">
                <a16:creationId xmlns:a16="http://schemas.microsoft.com/office/drawing/2014/main" id="{19EEBC5F-C5C0-2A49-934B-002BBAF27ED5}"/>
              </a:ext>
            </a:extLst>
          </p:cNvPr>
          <p:cNvSpPr>
            <a:spLocks noGrp="1"/>
          </p:cNvSpPr>
          <p:nvPr>
            <p:ph type="body" sz="quarter" idx="43"/>
          </p:nvPr>
        </p:nvSpPr>
        <p:spPr>
          <a:xfrm>
            <a:off x="8408812" y="3003484"/>
            <a:ext cx="3215143" cy="2858218"/>
          </a:xfrm>
        </p:spPr>
        <p:txBody>
          <a:bodyPr/>
          <a:lstStyle/>
          <a:p>
            <a:pPr defTabSz="932293" fontAlgn="base">
              <a:spcBef>
                <a:spcPts val="1176"/>
              </a:spcBef>
              <a:spcAft>
                <a:spcPts val="0"/>
              </a:spcAft>
            </a:pPr>
            <a:r>
              <a:rPr lang="en-GB" b="0">
                <a:solidFill>
                  <a:srgbClr val="742772"/>
                </a:solidFill>
                <a:latin typeface="Segoe UI Semibold" panose="020B0702040204020203" pitchFamily="34" charset="0"/>
                <a:ea typeface="Segoe UI" pitchFamily="34" charset="0"/>
                <a:cs typeface="Segoe UI Semibold" panose="020B0702040204020203" pitchFamily="34" charset="0"/>
              </a:rPr>
              <a:t>World class Pro Developer support and ALM</a:t>
            </a:r>
          </a:p>
          <a:p>
            <a:pPr defTabSz="932293" fontAlgn="base">
              <a:spcBef>
                <a:spcPts val="1176"/>
              </a:spcBef>
              <a:spcAft>
                <a:spcPts val="588"/>
              </a:spcAft>
            </a:pPr>
            <a:r>
              <a:rPr lang="en-GB" sz="1568" b="0">
                <a:latin typeface="Segoe UI Light" panose="020B0502040204020203" pitchFamily="34" charset="0"/>
                <a:ea typeface="Segoe UI" pitchFamily="34" charset="0"/>
                <a:cs typeface="Segoe UI Light" panose="020B0502040204020203" pitchFamily="34" charset="0"/>
              </a:rPr>
              <a:t>Experience the full range of development and ALM functionality with rich pro developer tools like Visual Studio and DevOps.</a:t>
            </a:r>
          </a:p>
          <a:p>
            <a:pPr defTabSz="932293" fontAlgn="base">
              <a:spcBef>
                <a:spcPts val="1176"/>
              </a:spcBef>
              <a:spcAft>
                <a:spcPts val="588"/>
              </a:spcAft>
            </a:pPr>
            <a:r>
              <a:rPr lang="en-GB" sz="1568" b="0">
                <a:latin typeface="Segoe UI Light" panose="020B0502040204020203" pitchFamily="34" charset="0"/>
                <a:ea typeface="Segoe UI" pitchFamily="34" charset="0"/>
                <a:cs typeface="Segoe UI Light" panose="020B0502040204020203" pitchFamily="34" charset="0"/>
              </a:rPr>
              <a:t>Reuse your current IP and skills - Power Apps component framework, CLI and VS Code create instant value for the business. </a:t>
            </a:r>
          </a:p>
        </p:txBody>
      </p:sp>
      <p:grpSp>
        <p:nvGrpSpPr>
          <p:cNvPr id="6" name="Group 5">
            <a:extLst>
              <a:ext uri="{FF2B5EF4-FFF2-40B4-BE49-F238E27FC236}">
                <a16:creationId xmlns:a16="http://schemas.microsoft.com/office/drawing/2014/main" id="{1DEFFF35-BA13-EF4D-A5C2-493C695C0B6C}"/>
              </a:ext>
            </a:extLst>
          </p:cNvPr>
          <p:cNvGrpSpPr/>
          <p:nvPr/>
        </p:nvGrpSpPr>
        <p:grpSpPr>
          <a:xfrm>
            <a:off x="9361237" y="1809751"/>
            <a:ext cx="719407" cy="567560"/>
            <a:chOff x="9497209" y="2046247"/>
            <a:chExt cx="785573" cy="619760"/>
          </a:xfrm>
        </p:grpSpPr>
        <p:sp>
          <p:nvSpPr>
            <p:cNvPr id="25" name="Telemarketer_E7B9" title="Icon of a person wearing a headset">
              <a:extLst>
                <a:ext uri="{FF2B5EF4-FFF2-40B4-BE49-F238E27FC236}">
                  <a16:creationId xmlns:a16="http://schemas.microsoft.com/office/drawing/2014/main" id="{A93225A5-18F1-264D-83EF-CFCEF8A872D8}"/>
                </a:ext>
              </a:extLst>
            </p:cNvPr>
            <p:cNvSpPr>
              <a:spLocks noChangeAspect="1" noEditPoints="1"/>
            </p:cNvSpPr>
            <p:nvPr/>
          </p:nvSpPr>
          <p:spPr bwMode="auto">
            <a:xfrm>
              <a:off x="9497209" y="2229791"/>
              <a:ext cx="365760" cy="43621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solidFill>
                  <a:srgbClr val="FFFFFF"/>
                </a:solidFill>
                <a:latin typeface="Segoe UI"/>
              </a:endParaRPr>
            </a:p>
          </p:txBody>
        </p:sp>
        <p:sp>
          <p:nvSpPr>
            <p:cNvPr id="27" name="globe_2" title="Icon of a sphere made of lines">
              <a:extLst>
                <a:ext uri="{FF2B5EF4-FFF2-40B4-BE49-F238E27FC236}">
                  <a16:creationId xmlns:a16="http://schemas.microsoft.com/office/drawing/2014/main" id="{1CAB3681-A07C-0142-AC37-033FFCED91E6}"/>
                </a:ext>
              </a:extLst>
            </p:cNvPr>
            <p:cNvSpPr>
              <a:spLocks noChangeAspect="1" noEditPoints="1"/>
            </p:cNvSpPr>
            <p:nvPr/>
          </p:nvSpPr>
          <p:spPr bwMode="auto">
            <a:xfrm>
              <a:off x="9917022" y="20462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sz="882">
                <a:solidFill>
                  <a:srgbClr val="FFFFFF"/>
                </a:solidFill>
                <a:latin typeface="Segoe UI"/>
              </a:endParaRPr>
            </a:p>
          </p:txBody>
        </p:sp>
      </p:grpSp>
      <p:sp>
        <p:nvSpPr>
          <p:cNvPr id="13" name="Rectangle 12">
            <a:extLst>
              <a:ext uri="{FF2B5EF4-FFF2-40B4-BE49-F238E27FC236}">
                <a16:creationId xmlns:a16="http://schemas.microsoft.com/office/drawing/2014/main" id="{5E51DEA5-88D2-CF41-8A90-F0D9DEFAB2A2}"/>
              </a:ext>
            </a:extLst>
          </p:cNvPr>
          <p:cNvSpPr/>
          <p:nvPr/>
        </p:nvSpPr>
        <p:spPr bwMode="auto">
          <a:xfrm>
            <a:off x="9819482" y="2553667"/>
            <a:ext cx="1274264" cy="27116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A83B7D58-8D75-3440-8455-067B6B8F77AC}"/>
              </a:ext>
            </a:extLst>
          </p:cNvPr>
          <p:cNvSpPr/>
          <p:nvPr/>
        </p:nvSpPr>
        <p:spPr bwMode="auto">
          <a:xfrm flipV="1">
            <a:off x="568049" y="2553666"/>
            <a:ext cx="9285844" cy="121556"/>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819851C2-E577-984E-8AB3-86EFB0B62147}"/>
              </a:ext>
            </a:extLst>
          </p:cNvPr>
          <p:cNvSpPr txBox="1"/>
          <p:nvPr/>
        </p:nvSpPr>
        <p:spPr>
          <a:xfrm>
            <a:off x="580638" y="2476301"/>
            <a:ext cx="1250307" cy="443626"/>
          </a:xfrm>
          <a:prstGeom prst="rect">
            <a:avLst/>
          </a:prstGeom>
          <a:noFill/>
        </p:spPr>
        <p:txBody>
          <a:bodyPr wrap="square" lIns="175761" tIns="140609" rIns="175761" bIns="140609" rtlCol="0">
            <a:spAutoFit/>
          </a:bodyPr>
          <a:lstStyle/>
          <a:p>
            <a:pPr defTabSz="896302">
              <a:lnSpc>
                <a:spcPct val="90000"/>
              </a:lnSpc>
              <a:spcAft>
                <a:spcPts val="576"/>
              </a:spcAft>
              <a:defRPr/>
            </a:pPr>
            <a:r>
              <a:rPr lang="en-US" sz="1153" b="1">
                <a:solidFill>
                  <a:srgbClr val="FFFFFF"/>
                </a:solidFill>
                <a:latin typeface="Segoe UI" panose="020B0502040204020203" pitchFamily="34" charset="0"/>
                <a:cs typeface="Segoe UI" panose="020B0502040204020203" pitchFamily="34" charset="0"/>
              </a:rPr>
              <a:t>CITIZEN DEV   </a:t>
            </a:r>
          </a:p>
        </p:txBody>
      </p:sp>
      <p:sp>
        <p:nvSpPr>
          <p:cNvPr id="16" name="TextBox 15">
            <a:extLst>
              <a:ext uri="{FF2B5EF4-FFF2-40B4-BE49-F238E27FC236}">
                <a16:creationId xmlns:a16="http://schemas.microsoft.com/office/drawing/2014/main" id="{579AFFA8-F2C2-7141-BE81-5D65C68FEBBA}"/>
              </a:ext>
            </a:extLst>
          </p:cNvPr>
          <p:cNvSpPr txBox="1"/>
          <p:nvPr/>
        </p:nvSpPr>
        <p:spPr>
          <a:xfrm>
            <a:off x="9990198" y="2476234"/>
            <a:ext cx="981300" cy="443693"/>
          </a:xfrm>
          <a:prstGeom prst="rect">
            <a:avLst/>
          </a:prstGeom>
          <a:noFill/>
        </p:spPr>
        <p:txBody>
          <a:bodyPr wrap="none" lIns="175761" tIns="140609" rIns="175761" bIns="140609" rtlCol="0">
            <a:spAutoFit/>
          </a:bodyPr>
          <a:lstStyle/>
          <a:p>
            <a:pPr defTabSz="896302">
              <a:lnSpc>
                <a:spcPct val="90000"/>
              </a:lnSpc>
              <a:spcAft>
                <a:spcPts val="576"/>
              </a:spcAft>
              <a:defRPr/>
            </a:pPr>
            <a:r>
              <a:rPr lang="en-US" sz="1153" b="1">
                <a:solidFill>
                  <a:srgbClr val="FFFFFF"/>
                </a:solidFill>
                <a:latin typeface="Segoe UI" panose="020B0502040204020203" pitchFamily="34" charset="0"/>
                <a:cs typeface="Segoe UI" panose="020B0502040204020203" pitchFamily="34" charset="0"/>
              </a:rPr>
              <a:t>PRO DEV</a:t>
            </a:r>
          </a:p>
        </p:txBody>
      </p:sp>
      <p:sp>
        <p:nvSpPr>
          <p:cNvPr id="18" name="TextBox 17">
            <a:extLst>
              <a:ext uri="{FF2B5EF4-FFF2-40B4-BE49-F238E27FC236}">
                <a16:creationId xmlns:a16="http://schemas.microsoft.com/office/drawing/2014/main" id="{BF4557EE-5148-9644-B90B-962E02832F10}"/>
              </a:ext>
            </a:extLst>
          </p:cNvPr>
          <p:cNvSpPr txBox="1"/>
          <p:nvPr/>
        </p:nvSpPr>
        <p:spPr>
          <a:xfrm>
            <a:off x="396636" y="1873018"/>
            <a:ext cx="707752" cy="443693"/>
          </a:xfrm>
          <a:prstGeom prst="rect">
            <a:avLst/>
          </a:prstGeom>
          <a:noFill/>
        </p:spPr>
        <p:txBody>
          <a:bodyPr wrap="none" lIns="175761" tIns="140609" rIns="175761" bIns="140609" rtlCol="0">
            <a:spAutoFit/>
          </a:bodyPr>
          <a:lstStyle/>
          <a:p>
            <a:pPr defTabSz="896302">
              <a:lnSpc>
                <a:spcPct val="90000"/>
              </a:lnSpc>
              <a:spcAft>
                <a:spcPts val="576"/>
              </a:spcAft>
              <a:defRPr/>
            </a:pPr>
            <a:r>
              <a:rPr lang="en-US" sz="1153" b="1">
                <a:solidFill>
                  <a:srgbClr val="282828"/>
                </a:solidFill>
                <a:latin typeface="Segoe UI" panose="020B0502040204020203" pitchFamily="34" charset="0"/>
                <a:cs typeface="Segoe UI" panose="020B0502040204020203" pitchFamily="34" charset="0"/>
              </a:rPr>
              <a:t>Basic</a:t>
            </a:r>
          </a:p>
        </p:txBody>
      </p:sp>
      <p:sp>
        <p:nvSpPr>
          <p:cNvPr id="19" name="TextBox 18">
            <a:extLst>
              <a:ext uri="{FF2B5EF4-FFF2-40B4-BE49-F238E27FC236}">
                <a16:creationId xmlns:a16="http://schemas.microsoft.com/office/drawing/2014/main" id="{B123A811-1BDB-7849-ADE7-5CACEA5786C4}"/>
              </a:ext>
            </a:extLst>
          </p:cNvPr>
          <p:cNvSpPr txBox="1"/>
          <p:nvPr/>
        </p:nvSpPr>
        <p:spPr>
          <a:xfrm>
            <a:off x="10563797" y="1323487"/>
            <a:ext cx="969654" cy="443693"/>
          </a:xfrm>
          <a:prstGeom prst="rect">
            <a:avLst/>
          </a:prstGeom>
          <a:noFill/>
        </p:spPr>
        <p:txBody>
          <a:bodyPr wrap="none" lIns="175761" tIns="140609" rIns="175761" bIns="140609" rtlCol="0">
            <a:spAutoFit/>
          </a:bodyPr>
          <a:lstStyle/>
          <a:p>
            <a:pPr defTabSz="896302">
              <a:lnSpc>
                <a:spcPct val="90000"/>
              </a:lnSpc>
              <a:spcAft>
                <a:spcPts val="576"/>
              </a:spcAft>
              <a:defRPr/>
            </a:pPr>
            <a:r>
              <a:rPr lang="en-US" sz="1153" b="1">
                <a:solidFill>
                  <a:srgbClr val="282828"/>
                </a:solidFill>
                <a:latin typeface="Segoe UI" panose="020B0502040204020203" pitchFamily="34" charset="0"/>
                <a:cs typeface="Segoe UI" panose="020B0502040204020203" pitchFamily="34" charset="0"/>
              </a:rPr>
              <a:t>Complex</a:t>
            </a:r>
          </a:p>
        </p:txBody>
      </p:sp>
    </p:spTree>
    <p:extLst>
      <p:ext uri="{BB962C8B-B14F-4D97-AF65-F5344CB8AC3E}">
        <p14:creationId xmlns:p14="http://schemas.microsoft.com/office/powerpoint/2010/main" val="2242659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par>
                          <p:cTn id="8" fill="hold">
                            <p:stCondLst>
                              <p:cond delay="1000"/>
                            </p:stCondLst>
                            <p:childTnLst>
                              <p:par>
                                <p:cTn id="9" presetID="17" presetClass="entr" presetSubtype="8" fill="hold" grpId="0" nodeType="afterEffect">
                                  <p:stCondLst>
                                    <p:cond delay="500"/>
                                  </p:stCondLst>
                                  <p:childTnLst>
                                    <p:set>
                                      <p:cBhvr>
                                        <p:cTn id="10" dur="1" fill="hold">
                                          <p:stCondLst>
                                            <p:cond delay="0"/>
                                          </p:stCondLst>
                                        </p:cTn>
                                        <p:tgtEl>
                                          <p:spTgt spid="20"/>
                                        </p:tgtEl>
                                        <p:attrNameLst>
                                          <p:attrName>style.visibility</p:attrName>
                                        </p:attrNameLst>
                                      </p:cBhvr>
                                      <p:to>
                                        <p:strVal val="visible"/>
                                      </p:to>
                                    </p:set>
                                    <p:anim calcmode="lin" valueType="num">
                                      <p:cBhvr>
                                        <p:cTn id="11" dur="2000" fill="hold"/>
                                        <p:tgtEl>
                                          <p:spTgt spid="20"/>
                                        </p:tgtEl>
                                        <p:attrNameLst>
                                          <p:attrName>ppt_x</p:attrName>
                                        </p:attrNameLst>
                                      </p:cBhvr>
                                      <p:tavLst>
                                        <p:tav tm="0">
                                          <p:val>
                                            <p:strVal val="#ppt_x-#ppt_w/2"/>
                                          </p:val>
                                        </p:tav>
                                        <p:tav tm="100000">
                                          <p:val>
                                            <p:strVal val="#ppt_x"/>
                                          </p:val>
                                        </p:tav>
                                      </p:tavLst>
                                    </p:anim>
                                    <p:anim calcmode="lin" valueType="num">
                                      <p:cBhvr>
                                        <p:cTn id="12" dur="2000" fill="hold"/>
                                        <p:tgtEl>
                                          <p:spTgt spid="20"/>
                                        </p:tgtEl>
                                        <p:attrNameLst>
                                          <p:attrName>ppt_y</p:attrName>
                                        </p:attrNameLst>
                                      </p:cBhvr>
                                      <p:tavLst>
                                        <p:tav tm="0">
                                          <p:val>
                                            <p:strVal val="#ppt_y"/>
                                          </p:val>
                                        </p:tav>
                                        <p:tav tm="100000">
                                          <p:val>
                                            <p:strVal val="#ppt_y"/>
                                          </p:val>
                                        </p:tav>
                                      </p:tavLst>
                                    </p:anim>
                                    <p:anim calcmode="lin" valueType="num">
                                      <p:cBhvr>
                                        <p:cTn id="13" dur="2000" fill="hold"/>
                                        <p:tgtEl>
                                          <p:spTgt spid="20"/>
                                        </p:tgtEl>
                                        <p:attrNameLst>
                                          <p:attrName>ppt_w</p:attrName>
                                        </p:attrNameLst>
                                      </p:cBhvr>
                                      <p:tavLst>
                                        <p:tav tm="0">
                                          <p:val>
                                            <p:fltVal val="0"/>
                                          </p:val>
                                        </p:tav>
                                        <p:tav tm="100000">
                                          <p:val>
                                            <p:strVal val="#ppt_w"/>
                                          </p:val>
                                        </p:tav>
                                      </p:tavLst>
                                    </p:anim>
                                    <p:anim calcmode="lin" valueType="num">
                                      <p:cBhvr>
                                        <p:cTn id="14" dur="2000" fill="hold"/>
                                        <p:tgtEl>
                                          <p:spTgt spid="20"/>
                                        </p:tgtEl>
                                        <p:attrNameLst>
                                          <p:attrName>ppt_h</p:attrName>
                                        </p:attrNameLst>
                                      </p:cBhvr>
                                      <p:tavLst>
                                        <p:tav tm="0">
                                          <p:val>
                                            <p:strVal val="#ppt_h"/>
                                          </p:val>
                                        </p:tav>
                                        <p:tav tm="100000">
                                          <p:val>
                                            <p:strVal val="#ppt_h"/>
                                          </p:val>
                                        </p:tav>
                                      </p:tavLst>
                                    </p:anim>
                                  </p:childTnLst>
                                </p:cTn>
                              </p:par>
                            </p:childTnLst>
                          </p:cTn>
                        </p:par>
                        <p:par>
                          <p:cTn id="15" fill="hold">
                            <p:stCondLst>
                              <p:cond delay="3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1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8" grpId="0"/>
      <p:bldP spid="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Battleground Custom Match Card Fatal 4 Way Match by Ziadelprince ...">
            <a:extLst>
              <a:ext uri="{FF2B5EF4-FFF2-40B4-BE49-F238E27FC236}">
                <a16:creationId xmlns:a16="http://schemas.microsoft.com/office/drawing/2014/main" id="{F511EEDD-0EE3-40DB-ACEA-7FFB027B1D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571500"/>
            <a:ext cx="9753600" cy="5715000"/>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Download Microsoft SharePoint Logo in SVG Vector or PNG File ...">
            <a:extLst>
              <a:ext uri="{FF2B5EF4-FFF2-40B4-BE49-F238E27FC236}">
                <a16:creationId xmlns:a16="http://schemas.microsoft.com/office/drawing/2014/main" id="{123F40B5-9A45-48F5-8CB4-C5E2AC16DD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8460" y="571500"/>
            <a:ext cx="4626801" cy="3084534"/>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125800A2-EC52-4DBB-B977-BA4E836E16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45785" y="976419"/>
            <a:ext cx="1712824" cy="1592982"/>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3 Motions to Win with Azure SQL - First For Cloud">
            <a:extLst>
              <a:ext uri="{FF2B5EF4-FFF2-40B4-BE49-F238E27FC236}">
                <a16:creationId xmlns:a16="http://schemas.microsoft.com/office/drawing/2014/main" id="{08843379-C156-4245-B651-8C38237760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3495" y="1276458"/>
            <a:ext cx="1486423" cy="1969192"/>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a:extLst>
              <a:ext uri="{FF2B5EF4-FFF2-40B4-BE49-F238E27FC236}">
                <a16:creationId xmlns:a16="http://schemas.microsoft.com/office/drawing/2014/main" id="{917BE851-24C7-4A77-B414-58D4A2BAD756}"/>
              </a:ext>
            </a:extLst>
          </p:cNvPr>
          <p:cNvSpPr/>
          <p:nvPr/>
        </p:nvSpPr>
        <p:spPr bwMode="auto">
          <a:xfrm>
            <a:off x="6248916" y="1072299"/>
            <a:ext cx="1712823" cy="2173351"/>
          </a:xfrm>
          <a:prstGeom prst="ellipse">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 picture containing building, drawing, window&#10;&#10;Description automatically generated">
            <a:extLst>
              <a:ext uri="{FF2B5EF4-FFF2-40B4-BE49-F238E27FC236}">
                <a16:creationId xmlns:a16="http://schemas.microsoft.com/office/drawing/2014/main" id="{B45DE137-2922-41FA-8910-95B7D6801F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93224" y="1641854"/>
            <a:ext cx="1038370" cy="1028844"/>
          </a:xfrm>
          <a:prstGeom prst="rect">
            <a:avLst/>
          </a:prstGeom>
        </p:spPr>
      </p:pic>
    </p:spTree>
    <p:extLst>
      <p:ext uri="{BB962C8B-B14F-4D97-AF65-F5344CB8AC3E}">
        <p14:creationId xmlns:p14="http://schemas.microsoft.com/office/powerpoint/2010/main" val="38449265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582C8-9E7D-4956-AEEA-D61D450859BF}"/>
              </a:ext>
            </a:extLst>
          </p:cNvPr>
          <p:cNvSpPr>
            <a:spLocks noGrp="1"/>
          </p:cNvSpPr>
          <p:nvPr>
            <p:ph type="title"/>
          </p:nvPr>
        </p:nvSpPr>
        <p:spPr>
          <a:xfrm>
            <a:off x="5717534" y="2728276"/>
            <a:ext cx="2808157" cy="462818"/>
          </a:xfrm>
        </p:spPr>
        <p:txBody>
          <a:bodyPr vert="horz" lIns="91440" tIns="45720" rIns="91440" bIns="45720" rtlCol="0" anchor="t">
            <a:normAutofit/>
          </a:bodyPr>
          <a:lstStyle/>
          <a:p>
            <a:r>
              <a:rPr lang="en-US" sz="2400" b="0" dirty="0">
                <a:solidFill>
                  <a:srgbClr val="000000"/>
                </a:solidFill>
              </a:rPr>
              <a:t>@</a:t>
            </a:r>
            <a:r>
              <a:rPr lang="en-US" sz="2400" b="0" dirty="0" err="1">
                <a:solidFill>
                  <a:srgbClr val="000000"/>
                </a:solidFill>
              </a:rPr>
              <a:t>tattooedCRMGuy</a:t>
            </a:r>
            <a:endParaRPr lang="en-US" sz="2400" b="0" dirty="0">
              <a:solidFill>
                <a:srgbClr val="000000"/>
              </a:solidFill>
            </a:endParaRPr>
          </a:p>
        </p:txBody>
      </p:sp>
      <p:pic>
        <p:nvPicPr>
          <p:cNvPr id="5" name="Picture 4" descr="A group of colorful graffiti&#10;&#10;Description automatically generated">
            <a:extLst>
              <a:ext uri="{FF2B5EF4-FFF2-40B4-BE49-F238E27FC236}">
                <a16:creationId xmlns:a16="http://schemas.microsoft.com/office/drawing/2014/main" id="{AFAC400F-79B8-407A-8549-469D6FAA6452}"/>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13099" r="3" b="3"/>
          <a:stretch/>
        </p:blipFill>
        <p:spPr>
          <a:xfrm>
            <a:off x="1" y="770037"/>
            <a:ext cx="5298683" cy="6097438"/>
          </a:xfrm>
          <a:custGeom>
            <a:avLst/>
            <a:gdLst>
              <a:gd name="connsiteX0" fmla="*/ 2178155 w 5298683"/>
              <a:gd name="connsiteY0" fmla="*/ 0 h 6097438"/>
              <a:gd name="connsiteX1" fmla="*/ 5298683 w 5298683"/>
              <a:gd name="connsiteY1" fmla="*/ 3120527 h 6097438"/>
              <a:gd name="connsiteX2" fmla="*/ 3392805 w 5298683"/>
              <a:gd name="connsiteY2" fmla="*/ 5995828 h 6097438"/>
              <a:gd name="connsiteX3" fmla="*/ 3115184 w 5298683"/>
              <a:gd name="connsiteY3" fmla="*/ 6097438 h 6097438"/>
              <a:gd name="connsiteX4" fmla="*/ 1241127 w 5298683"/>
              <a:gd name="connsiteY4" fmla="*/ 6097438 h 6097438"/>
              <a:gd name="connsiteX5" fmla="*/ 963506 w 5298683"/>
              <a:gd name="connsiteY5" fmla="*/ 5995828 h 6097438"/>
              <a:gd name="connsiteX6" fmla="*/ 193210 w 5298683"/>
              <a:gd name="connsiteY6" fmla="*/ 5528477 h 6097438"/>
              <a:gd name="connsiteX7" fmla="*/ 0 w 5298683"/>
              <a:gd name="connsiteY7" fmla="*/ 5352876 h 6097438"/>
              <a:gd name="connsiteX8" fmla="*/ 0 w 5298683"/>
              <a:gd name="connsiteY8" fmla="*/ 888178 h 6097438"/>
              <a:gd name="connsiteX9" fmla="*/ 193210 w 5298683"/>
              <a:gd name="connsiteY9" fmla="*/ 712577 h 6097438"/>
              <a:gd name="connsiteX10" fmla="*/ 2178155 w 5298683"/>
              <a:gd name="connsiteY10" fmla="*/ 0 h 609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8683" h="6097438">
                <a:moveTo>
                  <a:pt x="2178155" y="0"/>
                </a:moveTo>
                <a:cubicBezTo>
                  <a:pt x="3901575" y="0"/>
                  <a:pt x="5298683" y="1397108"/>
                  <a:pt x="5298683" y="3120527"/>
                </a:cubicBezTo>
                <a:cubicBezTo>
                  <a:pt x="5298683" y="4413092"/>
                  <a:pt x="4512810" y="5522106"/>
                  <a:pt x="3392805" y="5995828"/>
                </a:cubicBezTo>
                <a:lnTo>
                  <a:pt x="3115184" y="6097438"/>
                </a:lnTo>
                <a:lnTo>
                  <a:pt x="1241127" y="6097438"/>
                </a:lnTo>
                <a:lnTo>
                  <a:pt x="963506" y="5995828"/>
                </a:lnTo>
                <a:cubicBezTo>
                  <a:pt x="683504" y="5877397"/>
                  <a:pt x="424387" y="5719261"/>
                  <a:pt x="193210" y="5528477"/>
                </a:cubicBezTo>
                <a:lnTo>
                  <a:pt x="0" y="5352876"/>
                </a:lnTo>
                <a:lnTo>
                  <a:pt x="0" y="888178"/>
                </a:lnTo>
                <a:lnTo>
                  <a:pt x="193210" y="712577"/>
                </a:lnTo>
                <a:cubicBezTo>
                  <a:pt x="732621" y="267415"/>
                  <a:pt x="1424159" y="0"/>
                  <a:pt x="2178155" y="0"/>
                </a:cubicBezTo>
                <a:close/>
              </a:path>
            </a:pathLst>
          </a:custGeom>
          <a:effectLst>
            <a:softEdge rad="0"/>
          </a:effectLst>
        </p:spPr>
      </p:pic>
      <p:pic>
        <p:nvPicPr>
          <p:cNvPr id="4" name="Picture 3" descr="A screenshot of a cell phone&#10;&#10;Description automatically generated">
            <a:extLst>
              <a:ext uri="{FF2B5EF4-FFF2-40B4-BE49-F238E27FC236}">
                <a16:creationId xmlns:a16="http://schemas.microsoft.com/office/drawing/2014/main" id="{6EBDF2A9-101F-4D93-AAA1-A7874264E6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4039" y="1689462"/>
            <a:ext cx="3238981" cy="4116753"/>
          </a:xfrm>
          <a:prstGeom prst="rect">
            <a:avLst/>
          </a:prstGeom>
        </p:spPr>
      </p:pic>
      <p:pic>
        <p:nvPicPr>
          <p:cNvPr id="8" name="Picture 7" descr="A close up of a sign&#10;&#10;Description automatically generated">
            <a:extLst>
              <a:ext uri="{FF2B5EF4-FFF2-40B4-BE49-F238E27FC236}">
                <a16:creationId xmlns:a16="http://schemas.microsoft.com/office/drawing/2014/main" id="{3BAE8397-E55C-4F17-9C9E-37561C03C3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7344" y="3191094"/>
            <a:ext cx="2528035" cy="2528035"/>
          </a:xfrm>
          <a:prstGeom prst="rect">
            <a:avLst/>
          </a:prstGeom>
        </p:spPr>
      </p:pic>
      <p:sp>
        <p:nvSpPr>
          <p:cNvPr id="9" name="Title 1">
            <a:extLst>
              <a:ext uri="{FF2B5EF4-FFF2-40B4-BE49-F238E27FC236}">
                <a16:creationId xmlns:a16="http://schemas.microsoft.com/office/drawing/2014/main" id="{003A073F-70EC-4E0C-B2CD-4E4694F38B07}"/>
              </a:ext>
            </a:extLst>
          </p:cNvPr>
          <p:cNvSpPr txBox="1">
            <a:spLocks/>
          </p:cNvSpPr>
          <p:nvPr/>
        </p:nvSpPr>
        <p:spPr>
          <a:xfrm>
            <a:off x="6523237" y="5656968"/>
            <a:ext cx="1196750" cy="298494"/>
          </a:xfrm>
          <a:prstGeom prst="rect">
            <a:avLst/>
          </a:prstGeom>
        </p:spPr>
        <p:txBody>
          <a:bodyPr vert="horz" wrap="square" lIns="91440" tIns="45720" rIns="91440" bIns="45720" rtlCol="0" anchor="t">
            <a:normAutofit/>
          </a:bodyPr>
          <a:lstStyle>
            <a:lvl1pPr algn="l" defTabSz="932563" rtl="0" eaLnBrk="1" latinLnBrk="0" hangingPunct="1">
              <a:lnSpc>
                <a:spcPct val="100000"/>
              </a:lnSpc>
              <a:spcBef>
                <a:spcPct val="0"/>
              </a:spcBef>
              <a:buNone/>
              <a:defRPr lang="en-US" sz="28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GB" sz="1100" b="0" dirty="0">
                <a:solidFill>
                  <a:srgbClr val="000000"/>
                </a:solidFill>
              </a:rPr>
              <a:t>Use Twitter App</a:t>
            </a:r>
          </a:p>
        </p:txBody>
      </p:sp>
    </p:spTree>
    <p:extLst>
      <p:ext uri="{BB962C8B-B14F-4D97-AF65-F5344CB8AC3E}">
        <p14:creationId xmlns:p14="http://schemas.microsoft.com/office/powerpoint/2010/main" val="21856361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65" name="Group 164">
            <a:extLst>
              <a:ext uri="{FF2B5EF4-FFF2-40B4-BE49-F238E27FC236}">
                <a16:creationId xmlns:a16="http://schemas.microsoft.com/office/drawing/2014/main" id="{975BE70B-7BD9-45ED-B29A-D3C3566B43B7}"/>
              </a:ext>
            </a:extLst>
          </p:cNvPr>
          <p:cNvGrpSpPr/>
          <p:nvPr/>
        </p:nvGrpSpPr>
        <p:grpSpPr>
          <a:xfrm>
            <a:off x="5644784" y="5139570"/>
            <a:ext cx="914924" cy="922959"/>
            <a:chOff x="5644784" y="5139570"/>
            <a:chExt cx="914924" cy="922959"/>
          </a:xfrm>
        </p:grpSpPr>
        <p:grpSp>
          <p:nvGrpSpPr>
            <p:cNvPr id="166" name="DATA FUNNEL">
              <a:extLst>
                <a:ext uri="{FF2B5EF4-FFF2-40B4-BE49-F238E27FC236}">
                  <a16:creationId xmlns:a16="http://schemas.microsoft.com/office/drawing/2014/main" id="{1A0E8746-0F7E-41FA-83AF-0A9E14A5562E}"/>
                </a:ext>
              </a:extLst>
            </p:cNvPr>
            <p:cNvGrpSpPr/>
            <p:nvPr/>
          </p:nvGrpSpPr>
          <p:grpSpPr>
            <a:xfrm>
              <a:off x="5657869" y="5164119"/>
              <a:ext cx="894040" cy="637646"/>
              <a:chOff x="5532672" y="5434666"/>
              <a:chExt cx="891221" cy="637646"/>
            </a:xfrm>
            <a:effectLst/>
          </p:grpSpPr>
          <p:grpSp>
            <p:nvGrpSpPr>
              <p:cNvPr id="168" name="DATA CENTER">
                <a:extLst>
                  <a:ext uri="{FF2B5EF4-FFF2-40B4-BE49-F238E27FC236}">
                    <a16:creationId xmlns:a16="http://schemas.microsoft.com/office/drawing/2014/main" id="{1971A710-8DD3-472E-8905-B80FC8397A69}"/>
                  </a:ext>
                </a:extLst>
              </p:cNvPr>
              <p:cNvGrpSpPr/>
              <p:nvPr/>
            </p:nvGrpSpPr>
            <p:grpSpPr>
              <a:xfrm>
                <a:off x="5578169" y="5434666"/>
                <a:ext cx="798243" cy="524524"/>
                <a:chOff x="1241037" y="1087866"/>
                <a:chExt cx="1828800" cy="1872342"/>
              </a:xfrm>
              <a:gradFill flip="none" rotWithShape="1">
                <a:gsLst>
                  <a:gs pos="0">
                    <a:schemeClr val="accent4">
                      <a:lumMod val="89000"/>
                    </a:schemeClr>
                  </a:gs>
                  <a:gs pos="54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scene3d>
                <a:camera prst="perspectiveFront">
                  <a:rot lat="16500000" lon="0" rev="0"/>
                </a:camera>
                <a:lightRig rig="threePt" dir="t"/>
              </a:scene3d>
            </p:grpSpPr>
            <p:sp>
              <p:nvSpPr>
                <p:cNvPr id="170" name="circle1">
                  <a:extLst>
                    <a:ext uri="{FF2B5EF4-FFF2-40B4-BE49-F238E27FC236}">
                      <a16:creationId xmlns:a16="http://schemas.microsoft.com/office/drawing/2014/main" id="{A510294E-C20D-46CB-8A3C-DE9DFC330078}"/>
                    </a:ext>
                  </a:extLst>
                </p:cNvPr>
                <p:cNvSpPr/>
                <p:nvPr/>
              </p:nvSpPr>
              <p:spPr bwMode="auto">
                <a:xfrm flipH="1">
                  <a:off x="1241037" y="1087866"/>
                  <a:ext cx="1828800" cy="1828800"/>
                </a:xfrm>
                <a:prstGeom prst="ellipse">
                  <a:avLst/>
                </a:pr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1" name="circle1">
                  <a:extLst>
                    <a:ext uri="{FF2B5EF4-FFF2-40B4-BE49-F238E27FC236}">
                      <a16:creationId xmlns:a16="http://schemas.microsoft.com/office/drawing/2014/main" id="{6E4F961F-FA39-4C8C-B00E-86F1BE56F9E8}"/>
                    </a:ext>
                  </a:extLst>
                </p:cNvPr>
                <p:cNvSpPr/>
                <p:nvPr/>
              </p:nvSpPr>
              <p:spPr bwMode="auto">
                <a:xfrm flipH="1">
                  <a:off x="1296411" y="1242154"/>
                  <a:ext cx="1718053" cy="1718054"/>
                </a:xfrm>
                <a:prstGeom prst="ellipse">
                  <a:avLst/>
                </a:prstGeom>
                <a:grpFill/>
                <a:ln>
                  <a:noFill/>
                </a:ln>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2" name="Freeform: Shape 171">
                  <a:extLst>
                    <a:ext uri="{FF2B5EF4-FFF2-40B4-BE49-F238E27FC236}">
                      <a16:creationId xmlns:a16="http://schemas.microsoft.com/office/drawing/2014/main" id="{93526D84-55F6-4A98-94AD-9226BBEA78BD}"/>
                    </a:ext>
                  </a:extLst>
                </p:cNvPr>
                <p:cNvSpPr/>
                <p:nvPr/>
              </p:nvSpPr>
              <p:spPr bwMode="auto">
                <a:xfrm>
                  <a:off x="1360958" y="1299726"/>
                  <a:ext cx="1588958" cy="1602910"/>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73" name="DATA">
                  <a:extLst>
                    <a:ext uri="{FF2B5EF4-FFF2-40B4-BE49-F238E27FC236}">
                      <a16:creationId xmlns:a16="http://schemas.microsoft.com/office/drawing/2014/main" id="{3FD350F6-4A3F-48DF-AD4F-2EAD1FB791B0}"/>
                    </a:ext>
                  </a:extLst>
                </p:cNvPr>
                <p:cNvGrpSpPr/>
                <p:nvPr/>
              </p:nvGrpSpPr>
              <p:grpSpPr>
                <a:xfrm>
                  <a:off x="1558034" y="1946202"/>
                  <a:ext cx="1194807" cy="309959"/>
                  <a:chOff x="2903556" y="-853840"/>
                  <a:chExt cx="1234009" cy="320129"/>
                </a:xfrm>
                <a:grpFill/>
              </p:grpSpPr>
              <p:sp>
                <p:nvSpPr>
                  <p:cNvPr id="174" name="Freeform: Shape 173">
                    <a:extLst>
                      <a:ext uri="{FF2B5EF4-FFF2-40B4-BE49-F238E27FC236}">
                        <a16:creationId xmlns:a16="http://schemas.microsoft.com/office/drawing/2014/main" id="{F4CD6808-93A0-44C7-A588-8AC7EB30FCFA}"/>
                      </a:ext>
                    </a:extLst>
                  </p:cNvPr>
                  <p:cNvSpPr/>
                  <p:nvPr/>
                </p:nvSpPr>
                <p:spPr>
                  <a:xfrm>
                    <a:off x="2903556" y="-853840"/>
                    <a:ext cx="283964" cy="320129"/>
                  </a:xfrm>
                  <a:custGeom>
                    <a:avLst/>
                    <a:gdLst/>
                    <a:ahLst/>
                    <a:cxnLst/>
                    <a:rect l="l" t="t" r="r" b="b"/>
                    <a:pathLst>
                      <a:path w="283964" h="320129">
                        <a:moveTo>
                          <a:pt x="0" y="0"/>
                        </a:moveTo>
                        <a:lnTo>
                          <a:pt x="113407" y="0"/>
                        </a:lnTo>
                        <a:cubicBezTo>
                          <a:pt x="227112" y="0"/>
                          <a:pt x="283964" y="52015"/>
                          <a:pt x="283964" y="156046"/>
                        </a:cubicBezTo>
                        <a:cubicBezTo>
                          <a:pt x="283964" y="205903"/>
                          <a:pt x="268449" y="245715"/>
                          <a:pt x="237418" y="275481"/>
                        </a:cubicBezTo>
                        <a:cubicBezTo>
                          <a:pt x="206387" y="305246"/>
                          <a:pt x="165050" y="320129"/>
                          <a:pt x="113407" y="320129"/>
                        </a:cubicBezTo>
                        <a:lnTo>
                          <a:pt x="0" y="320129"/>
                        </a:lnTo>
                        <a:lnTo>
                          <a:pt x="0" y="0"/>
                        </a:lnTo>
                        <a:close/>
                        <a:moveTo>
                          <a:pt x="72107" y="58712"/>
                        </a:moveTo>
                        <a:lnTo>
                          <a:pt x="72107" y="261639"/>
                        </a:lnTo>
                        <a:lnTo>
                          <a:pt x="107826" y="261639"/>
                        </a:lnTo>
                        <a:cubicBezTo>
                          <a:pt x="139080" y="261639"/>
                          <a:pt x="163599" y="252263"/>
                          <a:pt x="181384" y="233511"/>
                        </a:cubicBezTo>
                        <a:cubicBezTo>
                          <a:pt x="199169" y="214759"/>
                          <a:pt x="208062" y="189235"/>
                          <a:pt x="208062" y="156939"/>
                        </a:cubicBezTo>
                        <a:cubicBezTo>
                          <a:pt x="208062" y="126429"/>
                          <a:pt x="199244" y="102431"/>
                          <a:pt x="181607" y="84943"/>
                        </a:cubicBezTo>
                        <a:cubicBezTo>
                          <a:pt x="163971" y="67456"/>
                          <a:pt x="139229" y="58712"/>
                          <a:pt x="107379" y="58712"/>
                        </a:cubicBezTo>
                        <a:lnTo>
                          <a:pt x="72107" y="58712"/>
                        </a:ln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5" name="Freeform: Shape 174">
                    <a:extLst>
                      <a:ext uri="{FF2B5EF4-FFF2-40B4-BE49-F238E27FC236}">
                        <a16:creationId xmlns:a16="http://schemas.microsoft.com/office/drawing/2014/main" id="{CA158838-D654-4100-8941-21163A0E3CE2}"/>
                      </a:ext>
                    </a:extLst>
                  </p:cNvPr>
                  <p:cNvSpPr/>
                  <p:nvPr/>
                </p:nvSpPr>
                <p:spPr>
                  <a:xfrm>
                    <a:off x="3212078" y="-853840"/>
                    <a:ext cx="315887" cy="320129"/>
                  </a:xfrm>
                  <a:custGeom>
                    <a:avLst/>
                    <a:gdLst/>
                    <a:ahLst/>
                    <a:cxnLst/>
                    <a:rect l="l" t="t" r="r" b="b"/>
                    <a:pathLst>
                      <a:path w="315887" h="320129">
                        <a:moveTo>
                          <a:pt x="116532" y="0"/>
                        </a:moveTo>
                        <a:lnTo>
                          <a:pt x="202034" y="0"/>
                        </a:lnTo>
                        <a:lnTo>
                          <a:pt x="315887" y="320129"/>
                        </a:lnTo>
                        <a:lnTo>
                          <a:pt x="237306" y="320129"/>
                        </a:lnTo>
                        <a:lnTo>
                          <a:pt x="214535" y="248915"/>
                        </a:lnTo>
                        <a:lnTo>
                          <a:pt x="100682" y="248915"/>
                        </a:lnTo>
                        <a:lnTo>
                          <a:pt x="78134" y="320129"/>
                        </a:lnTo>
                        <a:lnTo>
                          <a:pt x="0" y="320129"/>
                        </a:lnTo>
                        <a:lnTo>
                          <a:pt x="116532" y="0"/>
                        </a:lnTo>
                        <a:close/>
                        <a:moveTo>
                          <a:pt x="156492" y="57150"/>
                        </a:moveTo>
                        <a:cubicBezTo>
                          <a:pt x="155748" y="66526"/>
                          <a:pt x="153888" y="75828"/>
                          <a:pt x="150911" y="85055"/>
                        </a:cubicBezTo>
                        <a:lnTo>
                          <a:pt x="116086" y="193551"/>
                        </a:lnTo>
                        <a:lnTo>
                          <a:pt x="198015" y="193551"/>
                        </a:lnTo>
                        <a:lnTo>
                          <a:pt x="163636" y="85948"/>
                        </a:lnTo>
                        <a:cubicBezTo>
                          <a:pt x="161106" y="77911"/>
                          <a:pt x="159320" y="68312"/>
                          <a:pt x="158278" y="57150"/>
                        </a:cubicBezTo>
                        <a:lnTo>
                          <a:pt x="156492" y="57150"/>
                        </a:ln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6" name="Freeform: Shape 175">
                    <a:extLst>
                      <a:ext uri="{FF2B5EF4-FFF2-40B4-BE49-F238E27FC236}">
                        <a16:creationId xmlns:a16="http://schemas.microsoft.com/office/drawing/2014/main" id="{97E381AE-4180-488B-95F0-5749CA7D2279}"/>
                      </a:ext>
                    </a:extLst>
                  </p:cNvPr>
                  <p:cNvSpPr/>
                  <p:nvPr/>
                </p:nvSpPr>
                <p:spPr>
                  <a:xfrm>
                    <a:off x="3550140" y="-853840"/>
                    <a:ext cx="254496" cy="320129"/>
                  </a:xfrm>
                  <a:custGeom>
                    <a:avLst/>
                    <a:gdLst/>
                    <a:ahLst/>
                    <a:cxnLst/>
                    <a:rect l="l" t="t" r="r" b="b"/>
                    <a:pathLst>
                      <a:path w="254496" h="320129">
                        <a:moveTo>
                          <a:pt x="0" y="0"/>
                        </a:moveTo>
                        <a:lnTo>
                          <a:pt x="254496" y="0"/>
                        </a:lnTo>
                        <a:lnTo>
                          <a:pt x="254496" y="58712"/>
                        </a:lnTo>
                        <a:lnTo>
                          <a:pt x="163190" y="58712"/>
                        </a:lnTo>
                        <a:lnTo>
                          <a:pt x="163190" y="320129"/>
                        </a:lnTo>
                        <a:lnTo>
                          <a:pt x="90859" y="320129"/>
                        </a:lnTo>
                        <a:lnTo>
                          <a:pt x="90859" y="58712"/>
                        </a:lnTo>
                        <a:lnTo>
                          <a:pt x="0" y="58712"/>
                        </a:lnTo>
                        <a:lnTo>
                          <a:pt x="0" y="0"/>
                        </a:ln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7" name="Freeform: Shape 176">
                    <a:extLst>
                      <a:ext uri="{FF2B5EF4-FFF2-40B4-BE49-F238E27FC236}">
                        <a16:creationId xmlns:a16="http://schemas.microsoft.com/office/drawing/2014/main" id="{766A8B6F-32BA-404C-9B9A-B9DC170E2026}"/>
                      </a:ext>
                    </a:extLst>
                  </p:cNvPr>
                  <p:cNvSpPr/>
                  <p:nvPr/>
                </p:nvSpPr>
                <p:spPr>
                  <a:xfrm>
                    <a:off x="3821678" y="-853840"/>
                    <a:ext cx="315887" cy="320129"/>
                  </a:xfrm>
                  <a:custGeom>
                    <a:avLst/>
                    <a:gdLst/>
                    <a:ahLst/>
                    <a:cxnLst/>
                    <a:rect l="l" t="t" r="r" b="b"/>
                    <a:pathLst>
                      <a:path w="315887" h="320129">
                        <a:moveTo>
                          <a:pt x="116532" y="0"/>
                        </a:moveTo>
                        <a:lnTo>
                          <a:pt x="202034" y="0"/>
                        </a:lnTo>
                        <a:lnTo>
                          <a:pt x="315887" y="320129"/>
                        </a:lnTo>
                        <a:lnTo>
                          <a:pt x="237306" y="320129"/>
                        </a:lnTo>
                        <a:lnTo>
                          <a:pt x="214535" y="248915"/>
                        </a:lnTo>
                        <a:lnTo>
                          <a:pt x="100682" y="248915"/>
                        </a:lnTo>
                        <a:lnTo>
                          <a:pt x="78134" y="320129"/>
                        </a:lnTo>
                        <a:lnTo>
                          <a:pt x="0" y="320129"/>
                        </a:lnTo>
                        <a:lnTo>
                          <a:pt x="116532" y="0"/>
                        </a:lnTo>
                        <a:close/>
                        <a:moveTo>
                          <a:pt x="156492" y="57150"/>
                        </a:moveTo>
                        <a:cubicBezTo>
                          <a:pt x="155748" y="66526"/>
                          <a:pt x="153888" y="75828"/>
                          <a:pt x="150911" y="85055"/>
                        </a:cubicBezTo>
                        <a:lnTo>
                          <a:pt x="116086" y="193551"/>
                        </a:lnTo>
                        <a:lnTo>
                          <a:pt x="198015" y="193551"/>
                        </a:lnTo>
                        <a:lnTo>
                          <a:pt x="163636" y="85948"/>
                        </a:lnTo>
                        <a:cubicBezTo>
                          <a:pt x="161106" y="77911"/>
                          <a:pt x="159320" y="68312"/>
                          <a:pt x="158278" y="57150"/>
                        </a:cubicBezTo>
                        <a:lnTo>
                          <a:pt x="156492" y="57150"/>
                        </a:lnTo>
                        <a:close/>
                      </a:path>
                    </a:pathLst>
                  </a:custGeom>
                  <a:grpFill/>
                  <a:ln>
                    <a:noFill/>
                  </a:ln>
                  <a:effectLst>
                    <a:outerShdw blurRad="292100" dist="38100" dir="3600000" sx="101000" sy="101000" algn="tl" rotWithShape="0">
                      <a:prstClr val="black">
                        <a:alpha val="12000"/>
                      </a:prstClr>
                    </a:outerShdw>
                  </a:effectLst>
                  <a:sp3d extrusionH="508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sp>
            <p:nvSpPr>
              <p:cNvPr id="169" name="DATA TEXT">
                <a:extLst>
                  <a:ext uri="{FF2B5EF4-FFF2-40B4-BE49-F238E27FC236}">
                    <a16:creationId xmlns:a16="http://schemas.microsoft.com/office/drawing/2014/main" id="{1EF2447D-6F6B-476B-9F8B-1BCDCCCDFA8E}"/>
                  </a:ext>
                </a:extLst>
              </p:cNvPr>
              <p:cNvSpPr txBox="1"/>
              <p:nvPr/>
            </p:nvSpPr>
            <p:spPr>
              <a:xfrm flipH="1">
                <a:off x="5532672" y="5771392"/>
                <a:ext cx="891221" cy="300920"/>
              </a:xfrm>
              <a:prstGeom prst="rect">
                <a:avLst/>
              </a:prstGeom>
              <a:noFill/>
              <a:effectLst/>
            </p:spPr>
            <p:txBody>
              <a:bodyPr wrap="square" lIns="91440" tIns="91440" rIns="91440" bIns="9144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Data</a:t>
                </a:r>
              </a:p>
            </p:txBody>
          </p:sp>
        </p:grpSp>
        <p:sp>
          <p:nvSpPr>
            <p:cNvPr id="167" name="Freeform: Shape 166">
              <a:extLst>
                <a:ext uri="{FF2B5EF4-FFF2-40B4-BE49-F238E27FC236}">
                  <a16:creationId xmlns:a16="http://schemas.microsoft.com/office/drawing/2014/main" id="{A621165B-FA28-4A56-9486-BA680B7EB102}"/>
                </a:ext>
              </a:extLst>
            </p:cNvPr>
            <p:cNvSpPr/>
            <p:nvPr/>
          </p:nvSpPr>
          <p:spPr bwMode="auto">
            <a:xfrm>
              <a:off x="5644784" y="5139570"/>
              <a:ext cx="914924" cy="9229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15000"/>
              </a:srgbClr>
            </a:solidFill>
            <a:ln w="9525" cap="flat" cmpd="sng" algn="ctr">
              <a:noFill/>
              <a:prstDash val="solid"/>
              <a:headEnd type="none" w="med" len="med"/>
              <a:tailEnd type="none" w="med" len="med"/>
            </a:ln>
            <a:effectLst/>
            <a:scene3d>
              <a:camera prst="perspectiveFront"/>
              <a:lightRig rig="threePt" dir="t"/>
            </a:scene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a:ln>
                  <a:noFill/>
                </a:ln>
                <a:gradFill>
                  <a:gsLst>
                    <a:gs pos="83000">
                      <a:srgbClr val="008272"/>
                    </a:gs>
                    <a:gs pos="100000">
                      <a:srgbClr val="008272"/>
                    </a:gs>
                  </a:gsLst>
                  <a:lin ang="5400000" scaled="1"/>
                </a:gradFill>
                <a:effectLst/>
                <a:uLnTx/>
                <a:uFillTx/>
                <a:latin typeface="Segoe UI"/>
                <a:ea typeface="Segoe UI" pitchFamily="34" charset="0"/>
                <a:cs typeface="Segoe UI" pitchFamily="34" charset="0"/>
              </a:endParaRPr>
            </a:p>
          </p:txBody>
        </p:sp>
      </p:grpSp>
      <p:pic>
        <p:nvPicPr>
          <p:cNvPr id="14" name="Picture 13" descr="A screenshot of a cell phone&#10;&#10;Description automatically generated">
            <a:extLst>
              <a:ext uri="{FF2B5EF4-FFF2-40B4-BE49-F238E27FC236}">
                <a16:creationId xmlns:a16="http://schemas.microsoft.com/office/drawing/2014/main" id="{C75DC522-8027-42F3-BE09-1AD4BED8D1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22610" y="2754879"/>
            <a:ext cx="2383007" cy="819918"/>
          </a:xfrm>
          <a:prstGeom prst="rect">
            <a:avLst/>
          </a:prstGeom>
        </p:spPr>
      </p:pic>
      <p:sp>
        <p:nvSpPr>
          <p:cNvPr id="197" name="AZURE FUNNEL">
            <a:extLst>
              <a:ext uri="{FF2B5EF4-FFF2-40B4-BE49-F238E27FC236}">
                <a16:creationId xmlns:a16="http://schemas.microsoft.com/office/drawing/2014/main" id="{D823D31A-5472-4063-BC0F-D3DA1BFF3ED9}"/>
              </a:ext>
            </a:extLst>
          </p:cNvPr>
          <p:cNvSpPr>
            <a:spLocks noChangeAspect="1"/>
          </p:cNvSpPr>
          <p:nvPr/>
        </p:nvSpPr>
        <p:spPr bwMode="auto">
          <a:xfrm>
            <a:off x="5195548" y="3695394"/>
            <a:ext cx="1788606" cy="1678000"/>
          </a:xfrm>
          <a:prstGeom prst="ellipse">
            <a:avLst/>
          </a:prstGeom>
          <a:solidFill>
            <a:schemeClr val="accent1">
              <a:lumMod val="50000"/>
            </a:schemeClr>
          </a:solidFill>
          <a:ln>
            <a:noFill/>
          </a:ln>
          <a:effectLst>
            <a:outerShdw blurRad="292100" dist="38100" dir="3600000" sx="101000" sy="101000" algn="tl" rotWithShape="0">
              <a:prstClr val="black">
                <a:alpha val="12000"/>
              </a:prstClr>
            </a:outerShdw>
          </a:effectLst>
          <a:scene3d>
            <a:camera prst="orthographicFront">
              <a:rot lat="17772000" lon="16608000" rev="5034000"/>
            </a:camera>
            <a:lightRig rig="threePt" dir="t">
              <a:rot lat="0" lon="0" rev="21594000"/>
            </a:lightRig>
          </a:scene3d>
          <a:sp3d extrusionH="863600">
            <a:bevelT w="0" h="0" prst="coolSlan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useBgFill="1">
        <p:nvSpPr>
          <p:cNvPr id="28" name="small mask">
            <a:extLst>
              <a:ext uri="{FF2B5EF4-FFF2-40B4-BE49-F238E27FC236}">
                <a16:creationId xmlns:a16="http://schemas.microsoft.com/office/drawing/2014/main" id="{D9048D27-399B-4661-91D9-4A5FA6F1669A}"/>
              </a:ext>
            </a:extLst>
          </p:cNvPr>
          <p:cNvSpPr/>
          <p:nvPr/>
        </p:nvSpPr>
        <p:spPr bwMode="auto">
          <a:xfrm>
            <a:off x="6504278" y="5434599"/>
            <a:ext cx="607856" cy="55104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POWER PLATFORM">
            <a:extLst>
              <a:ext uri="{FF2B5EF4-FFF2-40B4-BE49-F238E27FC236}">
                <a16:creationId xmlns:a16="http://schemas.microsoft.com/office/drawing/2014/main" id="{6057CCC0-A92F-4350-B370-DD6018B23D0C}"/>
              </a:ext>
            </a:extLst>
          </p:cNvPr>
          <p:cNvGrpSpPr/>
          <p:nvPr/>
        </p:nvGrpSpPr>
        <p:grpSpPr>
          <a:xfrm>
            <a:off x="4840763" y="2466922"/>
            <a:ext cx="2551176" cy="2525950"/>
            <a:chOff x="4712747" y="2720336"/>
            <a:chExt cx="2551176" cy="2525950"/>
          </a:xfrm>
        </p:grpSpPr>
        <p:sp>
          <p:nvSpPr>
            <p:cNvPr id="148" name="POWER PLATFORM FUNNEL">
              <a:extLst>
                <a:ext uri="{FF2B5EF4-FFF2-40B4-BE49-F238E27FC236}">
                  <a16:creationId xmlns:a16="http://schemas.microsoft.com/office/drawing/2014/main" id="{F3029B65-3E41-4956-BE53-EC82DB0B8D8B}"/>
                </a:ext>
              </a:extLst>
            </p:cNvPr>
            <p:cNvSpPr>
              <a:spLocks noChangeAspect="1"/>
            </p:cNvSpPr>
            <p:nvPr/>
          </p:nvSpPr>
          <p:spPr bwMode="auto">
            <a:xfrm>
              <a:off x="4712747" y="2720336"/>
              <a:ext cx="2551176" cy="2525950"/>
            </a:xfrm>
            <a:prstGeom prst="ellipse">
              <a:avLst/>
            </a:prstGeom>
            <a:solidFill>
              <a:srgbClr val="007466"/>
            </a:solidFill>
            <a:ln>
              <a:noFill/>
            </a:ln>
            <a:effectLst>
              <a:outerShdw blurRad="292100" dist="38100" dir="3600000" sx="101000" sy="101000" algn="tl" rotWithShape="0">
                <a:prstClr val="black">
                  <a:alpha val="12000"/>
                </a:prstClr>
              </a:outerShdw>
            </a:effectLst>
            <a:scene3d>
              <a:camera prst="orthographicFront">
                <a:rot lat="17772000" lon="16608000" rev="5034000"/>
              </a:camera>
              <a:lightRig rig="threePt" dir="t">
                <a:rot lat="0" lon="0" rev="21594000"/>
              </a:lightRig>
            </a:scene3d>
            <a:sp3d extrusionH="7874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58" name="POWER PLATFORM TEXT">
              <a:extLst>
                <a:ext uri="{FF2B5EF4-FFF2-40B4-BE49-F238E27FC236}">
                  <a16:creationId xmlns:a16="http://schemas.microsoft.com/office/drawing/2014/main" id="{DB48269A-C053-4095-8B18-407D1FC971D4}"/>
                </a:ext>
              </a:extLst>
            </p:cNvPr>
            <p:cNvSpPr txBox="1"/>
            <p:nvPr/>
          </p:nvSpPr>
          <p:spPr>
            <a:xfrm flipH="1">
              <a:off x="4937656" y="4196203"/>
              <a:ext cx="206065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Power Platform</a:t>
              </a:r>
            </a:p>
          </p:txBody>
        </p:sp>
      </p:grpSp>
      <p:grpSp>
        <p:nvGrpSpPr>
          <p:cNvPr id="23" name="OFFICE/DYNAMICS">
            <a:extLst>
              <a:ext uri="{FF2B5EF4-FFF2-40B4-BE49-F238E27FC236}">
                <a16:creationId xmlns:a16="http://schemas.microsoft.com/office/drawing/2014/main" id="{C2EF59AF-BA8E-499F-9B53-D0E500F7C87F}"/>
              </a:ext>
            </a:extLst>
          </p:cNvPr>
          <p:cNvGrpSpPr/>
          <p:nvPr/>
        </p:nvGrpSpPr>
        <p:grpSpPr>
          <a:xfrm>
            <a:off x="4408021" y="1449849"/>
            <a:ext cx="3396048" cy="2950934"/>
            <a:chOff x="4260795" y="1703263"/>
            <a:chExt cx="3456353" cy="2950934"/>
          </a:xfrm>
        </p:grpSpPr>
        <p:sp>
          <p:nvSpPr>
            <p:cNvPr id="150" name="Oval 149">
              <a:extLst>
                <a:ext uri="{FF2B5EF4-FFF2-40B4-BE49-F238E27FC236}">
                  <a16:creationId xmlns:a16="http://schemas.microsoft.com/office/drawing/2014/main" id="{F367BDF5-5313-4E7B-83DA-B2D0502FBDD0}"/>
                </a:ext>
              </a:extLst>
            </p:cNvPr>
            <p:cNvSpPr>
              <a:spLocks noChangeAspect="1"/>
            </p:cNvSpPr>
            <p:nvPr/>
          </p:nvSpPr>
          <p:spPr bwMode="auto">
            <a:xfrm>
              <a:off x="4260795" y="1703263"/>
              <a:ext cx="3456353" cy="2950934"/>
            </a:xfrm>
            <a:prstGeom prst="ellipse">
              <a:avLst/>
            </a:prstGeom>
            <a:solidFill>
              <a:schemeClr val="tx2"/>
            </a:solidFill>
            <a:ln>
              <a:noFill/>
            </a:ln>
            <a:effectLst>
              <a:outerShdw blurRad="292100" dist="38100" dir="3600000" sx="101000" sy="101000" algn="tl" rotWithShape="0">
                <a:prstClr val="black">
                  <a:alpha val="12000"/>
                </a:prstClr>
              </a:outerShdw>
            </a:effectLst>
            <a:scene3d>
              <a:camera prst="orthographicFront">
                <a:rot lat="17772000" lon="16608000" rev="5034000"/>
              </a:camera>
              <a:lightRig rig="threePt" dir="t">
                <a:rot lat="0" lon="0" rev="600000"/>
              </a:lightRig>
            </a:scene3d>
            <a:sp3d extrusionH="7874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0" name="TextBox 159">
              <a:extLst>
                <a:ext uri="{FF2B5EF4-FFF2-40B4-BE49-F238E27FC236}">
                  <a16:creationId xmlns:a16="http://schemas.microsoft.com/office/drawing/2014/main" id="{F04A9C42-7AFA-4632-BECE-51D36FBD256E}"/>
                </a:ext>
              </a:extLst>
            </p:cNvPr>
            <p:cNvSpPr txBox="1"/>
            <p:nvPr/>
          </p:nvSpPr>
          <p:spPr>
            <a:xfrm flipH="1">
              <a:off x="4684171" y="3369689"/>
              <a:ext cx="2690207"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Office 365 </a:t>
              </a:r>
              <a:r>
                <a:rPr kumimoji="0" lang="en-US" sz="18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 </a:t>
              </a: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Dynamics 365</a:t>
              </a:r>
            </a:p>
          </p:txBody>
        </p:sp>
      </p:grpSp>
      <p:grpSp>
        <p:nvGrpSpPr>
          <p:cNvPr id="24" name="APPSOURCE">
            <a:extLst>
              <a:ext uri="{FF2B5EF4-FFF2-40B4-BE49-F238E27FC236}">
                <a16:creationId xmlns:a16="http://schemas.microsoft.com/office/drawing/2014/main" id="{8A2E422F-2E90-4201-B27E-506E85EBF30B}"/>
              </a:ext>
            </a:extLst>
          </p:cNvPr>
          <p:cNvGrpSpPr/>
          <p:nvPr/>
        </p:nvGrpSpPr>
        <p:grpSpPr>
          <a:xfrm>
            <a:off x="4148773" y="446511"/>
            <a:ext cx="3908008" cy="3656782"/>
            <a:chOff x="4020940" y="532563"/>
            <a:chExt cx="3928883" cy="3656782"/>
          </a:xfrm>
        </p:grpSpPr>
        <p:sp>
          <p:nvSpPr>
            <p:cNvPr id="151" name="APPSOURCE FUNNEL">
              <a:extLst>
                <a:ext uri="{FF2B5EF4-FFF2-40B4-BE49-F238E27FC236}">
                  <a16:creationId xmlns:a16="http://schemas.microsoft.com/office/drawing/2014/main" id="{666F88A0-81D1-4353-A2E0-5BBFA59DD0D1}"/>
                </a:ext>
              </a:extLst>
            </p:cNvPr>
            <p:cNvSpPr>
              <a:spLocks noChangeAspect="1"/>
            </p:cNvSpPr>
            <p:nvPr/>
          </p:nvSpPr>
          <p:spPr bwMode="auto">
            <a:xfrm>
              <a:off x="4020940" y="532563"/>
              <a:ext cx="3928883" cy="3656782"/>
            </a:xfrm>
            <a:prstGeom prst="ellipse">
              <a:avLst/>
            </a:prstGeom>
            <a:solidFill>
              <a:srgbClr val="00A894"/>
            </a:solidFill>
            <a:ln>
              <a:noFill/>
            </a:ln>
            <a:effectLst>
              <a:outerShdw blurRad="292100" dist="38100" dir="3600000" sx="101000" sy="101000" algn="tl" rotWithShape="0">
                <a:prstClr val="black">
                  <a:alpha val="12000"/>
                </a:prstClr>
              </a:outerShdw>
            </a:effectLst>
            <a:scene3d>
              <a:camera prst="orthographicFront">
                <a:rot lat="17772000" lon="16608000" rev="5034000"/>
              </a:camera>
              <a:lightRig rig="threePt" dir="t">
                <a:rot lat="0" lon="0" rev="600000"/>
              </a:lightRig>
            </a:scene3d>
            <a:sp3d extrusionH="635000">
              <a:bevelT w="0" h="0" prst="coolSlant"/>
              <a:bevelB w="0" h="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57" name="APPSOURCE TEXT">
              <a:extLst>
                <a:ext uri="{FF2B5EF4-FFF2-40B4-BE49-F238E27FC236}">
                  <a16:creationId xmlns:a16="http://schemas.microsoft.com/office/drawing/2014/main" id="{1D0D55AC-625C-438C-8A3A-130096E4A87F}"/>
                </a:ext>
              </a:extLst>
            </p:cNvPr>
            <p:cNvSpPr txBox="1"/>
            <p:nvPr/>
          </p:nvSpPr>
          <p:spPr>
            <a:xfrm flipH="1">
              <a:off x="4956585" y="2541174"/>
              <a:ext cx="206065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AppSource (ISV)</a:t>
              </a:r>
            </a:p>
          </p:txBody>
        </p:sp>
      </p:grpSp>
      <p:sp useBgFill="1">
        <p:nvSpPr>
          <p:cNvPr id="1162" name="MASK">
            <a:extLst>
              <a:ext uri="{FF2B5EF4-FFF2-40B4-BE49-F238E27FC236}">
                <a16:creationId xmlns:a16="http://schemas.microsoft.com/office/drawing/2014/main" id="{24823A7A-E81A-407D-8BD2-B0891A1FEB4E}"/>
              </a:ext>
            </a:extLst>
          </p:cNvPr>
          <p:cNvSpPr/>
          <p:nvPr/>
        </p:nvSpPr>
        <p:spPr bwMode="auto">
          <a:xfrm flipH="1">
            <a:off x="-18816" y="-12514"/>
            <a:ext cx="12338832" cy="6870513"/>
          </a:xfrm>
          <a:custGeom>
            <a:avLst/>
            <a:gdLst>
              <a:gd name="connsiteX0" fmla="*/ 9023508 w 12338832"/>
              <a:gd name="connsiteY0" fmla="*/ 0 h 6870513"/>
              <a:gd name="connsiteX1" fmla="*/ 2982378 w 12338832"/>
              <a:gd name="connsiteY1" fmla="*/ 0 h 6870513"/>
              <a:gd name="connsiteX2" fmla="*/ 2982378 w 12338832"/>
              <a:gd name="connsiteY2" fmla="*/ 12513 h 6870513"/>
              <a:gd name="connsiteX3" fmla="*/ 0 w 12338832"/>
              <a:gd name="connsiteY3" fmla="*/ 12513 h 6870513"/>
              <a:gd name="connsiteX4" fmla="*/ 0 w 12338832"/>
              <a:gd name="connsiteY4" fmla="*/ 6870513 h 6870513"/>
              <a:gd name="connsiteX5" fmla="*/ 186304 w 12338832"/>
              <a:gd name="connsiteY5" fmla="*/ 6870513 h 6870513"/>
              <a:gd name="connsiteX6" fmla="*/ 3184196 w 12338832"/>
              <a:gd name="connsiteY6" fmla="*/ 6870513 h 6870513"/>
              <a:gd name="connsiteX7" fmla="*/ 5813990 w 12338832"/>
              <a:gd name="connsiteY7" fmla="*/ 6870513 h 6870513"/>
              <a:gd name="connsiteX8" fmla="*/ 5813990 w 12338832"/>
              <a:gd name="connsiteY8" fmla="*/ 6245293 h 6870513"/>
              <a:gd name="connsiteX9" fmla="*/ 5810825 w 12338832"/>
              <a:gd name="connsiteY9" fmla="*/ 6245293 h 6870513"/>
              <a:gd name="connsiteX10" fmla="*/ 5826962 w 12338832"/>
              <a:gd name="connsiteY10" fmla="*/ 6071372 h 6870513"/>
              <a:gd name="connsiteX11" fmla="*/ 5819369 w 12338832"/>
              <a:gd name="connsiteY11" fmla="*/ 5899250 h 6870513"/>
              <a:gd name="connsiteX12" fmla="*/ 5817633 w 12338832"/>
              <a:gd name="connsiteY12" fmla="*/ 5444784 h 6870513"/>
              <a:gd name="connsiteX13" fmla="*/ 3716872 w 12338832"/>
              <a:gd name="connsiteY13" fmla="*/ 1182975 h 6870513"/>
              <a:gd name="connsiteX14" fmla="*/ 8717368 w 12338832"/>
              <a:gd name="connsiteY14" fmla="*/ 1182975 h 6870513"/>
              <a:gd name="connsiteX15" fmla="*/ 6616607 w 12338832"/>
              <a:gd name="connsiteY15" fmla="*/ 5461717 h 6870513"/>
              <a:gd name="connsiteX16" fmla="*/ 6614871 w 12338832"/>
              <a:gd name="connsiteY16" fmla="*/ 5899250 h 6870513"/>
              <a:gd name="connsiteX17" fmla="*/ 6607278 w 12338832"/>
              <a:gd name="connsiteY17" fmla="*/ 6071372 h 6870513"/>
              <a:gd name="connsiteX18" fmla="*/ 6623415 w 12338832"/>
              <a:gd name="connsiteY18" fmla="*/ 6245293 h 6870513"/>
              <a:gd name="connsiteX19" fmla="*/ 6620250 w 12338832"/>
              <a:gd name="connsiteY19" fmla="*/ 6245293 h 6870513"/>
              <a:gd name="connsiteX20" fmla="*/ 6620250 w 12338832"/>
              <a:gd name="connsiteY20" fmla="*/ 6870513 h 6870513"/>
              <a:gd name="connsiteX21" fmla="*/ 9007804 w 12338832"/>
              <a:gd name="connsiteY21" fmla="*/ 6870513 h 6870513"/>
              <a:gd name="connsiteX22" fmla="*/ 12247935 w 12338832"/>
              <a:gd name="connsiteY22" fmla="*/ 6870513 h 6870513"/>
              <a:gd name="connsiteX23" fmla="*/ 12338832 w 12338832"/>
              <a:gd name="connsiteY23" fmla="*/ 6870513 h 6870513"/>
              <a:gd name="connsiteX24" fmla="*/ 12338832 w 12338832"/>
              <a:gd name="connsiteY24" fmla="*/ 12513 h 6870513"/>
              <a:gd name="connsiteX25" fmla="*/ 9023508 w 12338832"/>
              <a:gd name="connsiteY25" fmla="*/ 12513 h 6870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38832" h="6870513">
                <a:moveTo>
                  <a:pt x="9023508" y="0"/>
                </a:moveTo>
                <a:lnTo>
                  <a:pt x="2982378" y="0"/>
                </a:lnTo>
                <a:lnTo>
                  <a:pt x="2982378" y="12513"/>
                </a:lnTo>
                <a:lnTo>
                  <a:pt x="0" y="12513"/>
                </a:lnTo>
                <a:lnTo>
                  <a:pt x="0" y="6870513"/>
                </a:lnTo>
                <a:lnTo>
                  <a:pt x="186304" y="6870513"/>
                </a:lnTo>
                <a:lnTo>
                  <a:pt x="3184196" y="6870513"/>
                </a:lnTo>
                <a:lnTo>
                  <a:pt x="5813990" y="6870513"/>
                </a:lnTo>
                <a:lnTo>
                  <a:pt x="5813990" y="6245293"/>
                </a:lnTo>
                <a:lnTo>
                  <a:pt x="5810825" y="6245293"/>
                </a:lnTo>
                <a:lnTo>
                  <a:pt x="5826962" y="6071372"/>
                </a:lnTo>
                <a:lnTo>
                  <a:pt x="5819369" y="5899250"/>
                </a:lnTo>
                <a:cubicBezTo>
                  <a:pt x="5818790" y="5753406"/>
                  <a:pt x="5818212" y="5590628"/>
                  <a:pt x="5817633" y="5444784"/>
                </a:cubicBezTo>
                <a:lnTo>
                  <a:pt x="3716872" y="1182975"/>
                </a:lnTo>
                <a:lnTo>
                  <a:pt x="8717368" y="1182975"/>
                </a:lnTo>
                <a:lnTo>
                  <a:pt x="6616607" y="5461717"/>
                </a:lnTo>
                <a:cubicBezTo>
                  <a:pt x="6616028" y="5607561"/>
                  <a:pt x="6615450" y="5753406"/>
                  <a:pt x="6614871" y="5899250"/>
                </a:cubicBezTo>
                <a:lnTo>
                  <a:pt x="6607278" y="6071372"/>
                </a:lnTo>
                <a:lnTo>
                  <a:pt x="6623415" y="6245293"/>
                </a:lnTo>
                <a:lnTo>
                  <a:pt x="6620250" y="6245293"/>
                </a:lnTo>
                <a:lnTo>
                  <a:pt x="6620250" y="6870513"/>
                </a:lnTo>
                <a:lnTo>
                  <a:pt x="9007804" y="6870513"/>
                </a:lnTo>
                <a:lnTo>
                  <a:pt x="12247935" y="6870513"/>
                </a:lnTo>
                <a:lnTo>
                  <a:pt x="12338832" y="6870513"/>
                </a:lnTo>
                <a:lnTo>
                  <a:pt x="12338832" y="12513"/>
                </a:lnTo>
                <a:lnTo>
                  <a:pt x="9023508" y="12513"/>
                </a:lnTo>
                <a:close/>
              </a:path>
            </a:pathLst>
          </a:custGeom>
          <a:ln>
            <a:noFill/>
          </a:ln>
          <a:effec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99" name="AZURE TEXT">
            <a:extLst>
              <a:ext uri="{FF2B5EF4-FFF2-40B4-BE49-F238E27FC236}">
                <a16:creationId xmlns:a16="http://schemas.microsoft.com/office/drawing/2014/main" id="{03CD9BE8-C96A-4B8D-B6DF-299A14308042}"/>
              </a:ext>
            </a:extLst>
          </p:cNvPr>
          <p:cNvSpPr txBox="1"/>
          <p:nvPr/>
        </p:nvSpPr>
        <p:spPr>
          <a:xfrm flipH="1">
            <a:off x="5065672" y="4778356"/>
            <a:ext cx="206065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prstClr val="white"/>
                    </a:gs>
                    <a:gs pos="100000">
                      <a:prstClr val="white"/>
                    </a:gs>
                  </a:gsLst>
                  <a:lin ang="5400000" scaled="0"/>
                </a:gradFill>
                <a:effectLst/>
                <a:uLnTx/>
                <a:uFillTx/>
                <a:latin typeface="Segoe UI Semibold"/>
                <a:ea typeface="+mn-ea"/>
                <a:cs typeface="+mn-cs"/>
              </a:rPr>
              <a:t>Azure</a:t>
            </a:r>
          </a:p>
        </p:txBody>
      </p:sp>
      <p:sp>
        <p:nvSpPr>
          <p:cNvPr id="1316" name="MS Graph">
            <a:extLst>
              <a:ext uri="{FF2B5EF4-FFF2-40B4-BE49-F238E27FC236}">
                <a16:creationId xmlns:a16="http://schemas.microsoft.com/office/drawing/2014/main" id="{0DCE9268-9D64-4284-A754-39328D73337A}"/>
              </a:ext>
            </a:extLst>
          </p:cNvPr>
          <p:cNvSpPr txBox="1"/>
          <p:nvPr/>
        </p:nvSpPr>
        <p:spPr>
          <a:xfrm>
            <a:off x="6477645" y="6347489"/>
            <a:ext cx="1474121" cy="193899"/>
          </a:xfrm>
          <a:prstGeom prst="rect">
            <a:avLst/>
          </a:prstGeom>
          <a:noFill/>
        </p:spPr>
        <p:txBody>
          <a:bodyPr wrap="none" lIns="9144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83000">
                      <a:srgbClr val="505050"/>
                    </a:gs>
                    <a:gs pos="100000">
                      <a:srgbClr val="505050"/>
                    </a:gs>
                  </a:gsLst>
                  <a:lin ang="5400000" scaled="1"/>
                </a:gradFill>
                <a:effectLst/>
                <a:uLnTx/>
                <a:uFillTx/>
                <a:latin typeface="Segoe UI Semibold" panose="020B0702040204020203" pitchFamily="34" charset="0"/>
                <a:ea typeface="+mn-ea"/>
                <a:cs typeface="Segoe UI Semibold" panose="020B0702040204020203" pitchFamily="34" charset="0"/>
              </a:rPr>
              <a:t>Microsoft Graph</a:t>
            </a:r>
          </a:p>
        </p:txBody>
      </p:sp>
      <p:pic>
        <p:nvPicPr>
          <p:cNvPr id="1317" name="Bing" descr="A close up of a sign&#10;&#10;Description automatically generated">
            <a:extLst>
              <a:ext uri="{FF2B5EF4-FFF2-40B4-BE49-F238E27FC236}">
                <a16:creationId xmlns:a16="http://schemas.microsoft.com/office/drawing/2014/main" id="{31066B4A-2AD1-4BD9-B229-AB1762E296F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87661" y="6180627"/>
            <a:ext cx="941003" cy="505080"/>
          </a:xfrm>
          <a:prstGeom prst="rect">
            <a:avLst/>
          </a:prstGeom>
        </p:spPr>
      </p:pic>
      <p:pic>
        <p:nvPicPr>
          <p:cNvPr id="1318" name="Linkedin">
            <a:extLst>
              <a:ext uri="{FF2B5EF4-FFF2-40B4-BE49-F238E27FC236}">
                <a16:creationId xmlns:a16="http://schemas.microsoft.com/office/drawing/2014/main" id="{C42CF043-407A-4F9E-BD68-C4EA2B3596C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30486" y="6338226"/>
            <a:ext cx="876067" cy="216511"/>
          </a:xfrm>
          <a:prstGeom prst="rect">
            <a:avLst/>
          </a:prstGeom>
        </p:spPr>
      </p:pic>
      <p:cxnSp>
        <p:nvCxnSpPr>
          <p:cNvPr id="1319" name="Straight Arrow Connector 1318">
            <a:extLst>
              <a:ext uri="{FF2B5EF4-FFF2-40B4-BE49-F238E27FC236}">
                <a16:creationId xmlns:a16="http://schemas.microsoft.com/office/drawing/2014/main" id="{61394CBF-7159-4600-84CB-AE8B0607C8B3}"/>
              </a:ext>
            </a:extLst>
          </p:cNvPr>
          <p:cNvCxnSpPr>
            <a:cxnSpLocks/>
          </p:cNvCxnSpPr>
          <p:nvPr/>
        </p:nvCxnSpPr>
        <p:spPr>
          <a:xfrm flipV="1">
            <a:off x="6095314" y="6049156"/>
            <a:ext cx="0" cy="160187"/>
          </a:xfrm>
          <a:prstGeom prst="straightConnector1">
            <a:avLst/>
          </a:prstGeom>
          <a:ln w="19050">
            <a:solidFill>
              <a:schemeClr val="accent6">
                <a:lumMod val="75000"/>
              </a:schemeClr>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sp>
        <p:nvSpPr>
          <p:cNvPr id="661" name="DROP COVER">
            <a:extLst>
              <a:ext uri="{FF2B5EF4-FFF2-40B4-BE49-F238E27FC236}">
                <a16:creationId xmlns:a16="http://schemas.microsoft.com/office/drawing/2014/main" id="{A1EF3C43-7F17-4BED-8690-B077370E3787}"/>
              </a:ext>
            </a:extLst>
          </p:cNvPr>
          <p:cNvSpPr/>
          <p:nvPr/>
        </p:nvSpPr>
        <p:spPr bwMode="auto">
          <a:xfrm>
            <a:off x="2242310" y="-63636"/>
            <a:ext cx="8004130" cy="11390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78" name="Picture 1277">
            <a:extLst>
              <a:ext uri="{FF2B5EF4-FFF2-40B4-BE49-F238E27FC236}">
                <a16:creationId xmlns:a16="http://schemas.microsoft.com/office/drawing/2014/main" id="{B1465B09-5BCB-450F-97A2-7B16EA6D877C}"/>
              </a:ext>
            </a:extLst>
          </p:cNvPr>
          <p:cNvPicPr>
            <a:picLocks noChangeAspect="1"/>
          </p:cNvPicPr>
          <p:nvPr/>
        </p:nvPicPr>
        <p:blipFill>
          <a:blip r:embed="rId6">
            <a:alphaModFix amt="15000"/>
            <a:extLst>
              <a:ext uri="{28A0092B-C50C-407E-A947-70E740481C1C}">
                <a14:useLocalDpi xmlns:a14="http://schemas.microsoft.com/office/drawing/2010/main" val="0"/>
              </a:ext>
            </a:extLst>
          </a:blip>
          <a:srcRect/>
          <a:stretch>
            <a:fillRect/>
          </a:stretch>
        </p:blipFill>
        <p:spPr>
          <a:xfrm>
            <a:off x="148836" y="219178"/>
            <a:ext cx="11894327" cy="6419644"/>
          </a:xfrm>
          <a:custGeom>
            <a:avLst/>
            <a:gdLst>
              <a:gd name="connsiteX0" fmla="*/ 6575622 w 11894327"/>
              <a:gd name="connsiteY0" fmla="*/ 1646343 h 6419644"/>
              <a:gd name="connsiteX1" fmla="*/ 5557695 w 11894327"/>
              <a:gd name="connsiteY1" fmla="*/ 1905810 h 6419644"/>
              <a:gd name="connsiteX2" fmla="*/ 5542303 w 11894327"/>
              <a:gd name="connsiteY2" fmla="*/ 1915223 h 6419644"/>
              <a:gd name="connsiteX3" fmla="*/ 5477852 w 11894327"/>
              <a:gd name="connsiteY3" fmla="*/ 1915737 h 6419644"/>
              <a:gd name="connsiteX4" fmla="*/ 3950967 w 11894327"/>
              <a:gd name="connsiteY4" fmla="*/ 2063859 h 6419644"/>
              <a:gd name="connsiteX5" fmla="*/ 3960840 w 11894327"/>
              <a:gd name="connsiteY5" fmla="*/ 2079318 h 6419644"/>
              <a:gd name="connsiteX6" fmla="*/ 3973905 w 11894327"/>
              <a:gd name="connsiteY6" fmla="*/ 2086086 h 6419644"/>
              <a:gd name="connsiteX7" fmla="*/ 3915084 w 11894327"/>
              <a:gd name="connsiteY7" fmla="*/ 2086086 h 6419644"/>
              <a:gd name="connsiteX8" fmla="*/ 4517004 w 11894327"/>
              <a:gd name="connsiteY8" fmla="*/ 3231559 h 6419644"/>
              <a:gd name="connsiteX9" fmla="*/ 4483465 w 11894327"/>
              <a:gd name="connsiteY9" fmla="*/ 3362866 h 6419644"/>
              <a:gd name="connsiteX10" fmla="*/ 4440078 w 11894327"/>
              <a:gd name="connsiteY10" fmla="*/ 3796121 h 6419644"/>
              <a:gd name="connsiteX11" fmla="*/ 5381620 w 11894327"/>
              <a:gd name="connsiteY11" fmla="*/ 5578751 h 6419644"/>
              <a:gd name="connsiteX12" fmla="*/ 5456153 w 11894327"/>
              <a:gd name="connsiteY12" fmla="*/ 5624333 h 6419644"/>
              <a:gd name="connsiteX13" fmla="*/ 5456153 w 11894327"/>
              <a:gd name="connsiteY13" fmla="*/ 5733233 h 6419644"/>
              <a:gd name="connsiteX14" fmla="*/ 5654204 w 11894327"/>
              <a:gd name="connsiteY14" fmla="*/ 5733233 h 6419644"/>
              <a:gd name="connsiteX15" fmla="*/ 5744372 w 11894327"/>
              <a:gd name="connsiteY15" fmla="*/ 5776959 h 6419644"/>
              <a:gd name="connsiteX16" fmla="*/ 5881005 w 11894327"/>
              <a:gd name="connsiteY16" fmla="*/ 5827301 h 6419644"/>
              <a:gd name="connsiteX17" fmla="*/ 5890779 w 11894327"/>
              <a:gd name="connsiteY17" fmla="*/ 5845901 h 6419644"/>
              <a:gd name="connsiteX18" fmla="*/ 5897383 w 11894327"/>
              <a:gd name="connsiteY18" fmla="*/ 5833335 h 6419644"/>
              <a:gd name="connsiteX19" fmla="*/ 5940577 w 11894327"/>
              <a:gd name="connsiteY19" fmla="*/ 5849250 h 6419644"/>
              <a:gd name="connsiteX20" fmla="*/ 6575622 w 11894327"/>
              <a:gd name="connsiteY20" fmla="*/ 5945899 h 6419644"/>
              <a:gd name="connsiteX21" fmla="*/ 8711166 w 11894327"/>
              <a:gd name="connsiteY21" fmla="*/ 3796121 h 6419644"/>
              <a:gd name="connsiteX22" fmla="*/ 7934026 w 11894327"/>
              <a:gd name="connsiteY22" fmla="*/ 2137248 h 6419644"/>
              <a:gd name="connsiteX23" fmla="*/ 7866358 w 11894327"/>
              <a:gd name="connsiteY23" fmla="*/ 2086309 h 6419644"/>
              <a:gd name="connsiteX24" fmla="*/ 7866475 w 11894327"/>
              <a:gd name="connsiteY24" fmla="*/ 2086086 h 6419644"/>
              <a:gd name="connsiteX25" fmla="*/ 7866062 w 11894327"/>
              <a:gd name="connsiteY25" fmla="*/ 2086086 h 6419644"/>
              <a:gd name="connsiteX26" fmla="*/ 7769625 w 11894327"/>
              <a:gd name="connsiteY26" fmla="*/ 2013491 h 6419644"/>
              <a:gd name="connsiteX27" fmla="*/ 6575622 w 11894327"/>
              <a:gd name="connsiteY27" fmla="*/ 1646343 h 6419644"/>
              <a:gd name="connsiteX28" fmla="*/ 4496264 w 11894327"/>
              <a:gd name="connsiteY28" fmla="*/ 443829 h 6419644"/>
              <a:gd name="connsiteX29" fmla="*/ 3391552 w 11894327"/>
              <a:gd name="connsiteY29" fmla="*/ 687224 h 6419644"/>
              <a:gd name="connsiteX30" fmla="*/ 4496264 w 11894327"/>
              <a:gd name="connsiteY30" fmla="*/ 930619 h 6419644"/>
              <a:gd name="connsiteX31" fmla="*/ 5113920 w 11894327"/>
              <a:gd name="connsiteY31" fmla="*/ 889051 h 6419644"/>
              <a:gd name="connsiteX32" fmla="*/ 5166524 w 11894327"/>
              <a:gd name="connsiteY32" fmla="*/ 879489 h 6419644"/>
              <a:gd name="connsiteX33" fmla="*/ 5124369 w 11894327"/>
              <a:gd name="connsiteY33" fmla="*/ 898423 h 6419644"/>
              <a:gd name="connsiteX34" fmla="*/ 4956355 w 11894327"/>
              <a:gd name="connsiteY34" fmla="*/ 1102270 h 6419644"/>
              <a:gd name="connsiteX35" fmla="*/ 5940133 w 11894327"/>
              <a:gd name="connsiteY35" fmla="*/ 1466863 h 6419644"/>
              <a:gd name="connsiteX36" fmla="*/ 6923911 w 11894327"/>
              <a:gd name="connsiteY36" fmla="*/ 1102270 h 6419644"/>
              <a:gd name="connsiteX37" fmla="*/ 6846601 w 11894327"/>
              <a:gd name="connsiteY37" fmla="*/ 960354 h 6419644"/>
              <a:gd name="connsiteX38" fmla="*/ 6769536 w 11894327"/>
              <a:gd name="connsiteY38" fmla="*/ 907735 h 6419644"/>
              <a:gd name="connsiteX39" fmla="*/ 6912141 w 11894327"/>
              <a:gd name="connsiteY39" fmla="*/ 924789 h 6419644"/>
              <a:gd name="connsiteX40" fmla="*/ 7342145 w 11894327"/>
              <a:gd name="connsiteY40" fmla="*/ 943916 h 6419644"/>
              <a:gd name="connsiteX41" fmla="*/ 8446857 w 11894327"/>
              <a:gd name="connsiteY41" fmla="*/ 700521 h 6419644"/>
              <a:gd name="connsiteX42" fmla="*/ 7342145 w 11894327"/>
              <a:gd name="connsiteY42" fmla="*/ 457126 h 6419644"/>
              <a:gd name="connsiteX43" fmla="*/ 6237433 w 11894327"/>
              <a:gd name="connsiteY43" fmla="*/ 700521 h 6419644"/>
              <a:gd name="connsiteX44" fmla="*/ 6259877 w 11894327"/>
              <a:gd name="connsiteY44" fmla="*/ 749574 h 6419644"/>
              <a:gd name="connsiteX45" fmla="*/ 6275827 w 11894327"/>
              <a:gd name="connsiteY45" fmla="*/ 760894 h 6419644"/>
              <a:gd name="connsiteX46" fmla="*/ 6138399 w 11894327"/>
              <a:gd name="connsiteY46" fmla="*/ 745084 h 6419644"/>
              <a:gd name="connsiteX47" fmla="*/ 5940133 w 11894327"/>
              <a:gd name="connsiteY47" fmla="*/ 737677 h 6419644"/>
              <a:gd name="connsiteX48" fmla="*/ 5557203 w 11894327"/>
              <a:gd name="connsiteY48" fmla="*/ 766329 h 6419644"/>
              <a:gd name="connsiteX49" fmla="*/ 5527883 w 11894327"/>
              <a:gd name="connsiteY49" fmla="*/ 772227 h 6419644"/>
              <a:gd name="connsiteX50" fmla="*/ 5578533 w 11894327"/>
              <a:gd name="connsiteY50" fmla="*/ 736277 h 6419644"/>
              <a:gd name="connsiteX51" fmla="*/ 5600976 w 11894327"/>
              <a:gd name="connsiteY51" fmla="*/ 687224 h 6419644"/>
              <a:gd name="connsiteX52" fmla="*/ 4496264 w 11894327"/>
              <a:gd name="connsiteY52" fmla="*/ 443829 h 6419644"/>
              <a:gd name="connsiteX53" fmla="*/ 0 w 11894327"/>
              <a:gd name="connsiteY53" fmla="*/ 0 h 6419644"/>
              <a:gd name="connsiteX54" fmla="*/ 11894327 w 11894327"/>
              <a:gd name="connsiteY54" fmla="*/ 0 h 6419644"/>
              <a:gd name="connsiteX55" fmla="*/ 11894327 w 11894327"/>
              <a:gd name="connsiteY55" fmla="*/ 6419644 h 6419644"/>
              <a:gd name="connsiteX56" fmla="*/ 0 w 11894327"/>
              <a:gd name="connsiteY56" fmla="*/ 6419644 h 641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1894327" h="6419644">
                <a:moveTo>
                  <a:pt x="6575622" y="1646343"/>
                </a:moveTo>
                <a:cubicBezTo>
                  <a:pt x="6207051" y="1646343"/>
                  <a:pt x="5860288" y="1740336"/>
                  <a:pt x="5557695" y="1905810"/>
                </a:cubicBezTo>
                <a:lnTo>
                  <a:pt x="5542303" y="1915223"/>
                </a:lnTo>
                <a:lnTo>
                  <a:pt x="5477852" y="1915737"/>
                </a:lnTo>
                <a:cubicBezTo>
                  <a:pt x="4606461" y="1929835"/>
                  <a:pt x="3950967" y="1990795"/>
                  <a:pt x="3950967" y="2063859"/>
                </a:cubicBezTo>
                <a:cubicBezTo>
                  <a:pt x="3950967" y="2069078"/>
                  <a:pt x="3954312" y="2074235"/>
                  <a:pt x="3960840" y="2079318"/>
                </a:cubicBezTo>
                <a:lnTo>
                  <a:pt x="3973905" y="2086086"/>
                </a:lnTo>
                <a:lnTo>
                  <a:pt x="3915084" y="2086086"/>
                </a:lnTo>
                <a:lnTo>
                  <a:pt x="4517004" y="3231559"/>
                </a:lnTo>
                <a:lnTo>
                  <a:pt x="4483465" y="3362866"/>
                </a:lnTo>
                <a:cubicBezTo>
                  <a:pt x="4455018" y="3502811"/>
                  <a:pt x="4440078" y="3647710"/>
                  <a:pt x="4440078" y="3796121"/>
                </a:cubicBezTo>
                <a:cubicBezTo>
                  <a:pt x="4440078" y="4538178"/>
                  <a:pt x="4813561" y="5192420"/>
                  <a:pt x="5381620" y="5578751"/>
                </a:cubicBezTo>
                <a:lnTo>
                  <a:pt x="5456153" y="5624333"/>
                </a:lnTo>
                <a:lnTo>
                  <a:pt x="5456153" y="5733233"/>
                </a:lnTo>
                <a:lnTo>
                  <a:pt x="5654204" y="5733233"/>
                </a:lnTo>
                <a:lnTo>
                  <a:pt x="5744372" y="5776959"/>
                </a:lnTo>
                <a:lnTo>
                  <a:pt x="5881005" y="5827301"/>
                </a:lnTo>
                <a:lnTo>
                  <a:pt x="5890779" y="5845901"/>
                </a:lnTo>
                <a:lnTo>
                  <a:pt x="5897383" y="5833335"/>
                </a:lnTo>
                <a:lnTo>
                  <a:pt x="5940577" y="5849250"/>
                </a:lnTo>
                <a:cubicBezTo>
                  <a:pt x="6141188" y="5912062"/>
                  <a:pt x="6354480" y="5945899"/>
                  <a:pt x="6575622" y="5945899"/>
                </a:cubicBezTo>
                <a:cubicBezTo>
                  <a:pt x="7755050" y="5945899"/>
                  <a:pt x="8711166" y="4983411"/>
                  <a:pt x="8711166" y="3796121"/>
                </a:cubicBezTo>
                <a:cubicBezTo>
                  <a:pt x="8711166" y="3128271"/>
                  <a:pt x="8408645" y="2531549"/>
                  <a:pt x="7934026" y="2137248"/>
                </a:cubicBezTo>
                <a:lnTo>
                  <a:pt x="7866358" y="2086309"/>
                </a:lnTo>
                <a:lnTo>
                  <a:pt x="7866475" y="2086086"/>
                </a:lnTo>
                <a:lnTo>
                  <a:pt x="7866062" y="2086086"/>
                </a:lnTo>
                <a:lnTo>
                  <a:pt x="7769625" y="2013491"/>
                </a:lnTo>
                <a:cubicBezTo>
                  <a:pt x="7428790" y="1781693"/>
                  <a:pt x="7017908" y="1646343"/>
                  <a:pt x="6575622" y="1646343"/>
                </a:cubicBezTo>
                <a:close/>
                <a:moveTo>
                  <a:pt x="4496264" y="443829"/>
                </a:moveTo>
                <a:cubicBezTo>
                  <a:pt x="3886148" y="443829"/>
                  <a:pt x="3391552" y="552801"/>
                  <a:pt x="3391552" y="687224"/>
                </a:cubicBezTo>
                <a:cubicBezTo>
                  <a:pt x="3391552" y="821647"/>
                  <a:pt x="3886148" y="930619"/>
                  <a:pt x="4496264" y="930619"/>
                </a:cubicBezTo>
                <a:cubicBezTo>
                  <a:pt x="4725058" y="930619"/>
                  <a:pt x="4937606" y="915295"/>
                  <a:pt x="5113920" y="889051"/>
                </a:cubicBezTo>
                <a:lnTo>
                  <a:pt x="5166524" y="879489"/>
                </a:lnTo>
                <a:lnTo>
                  <a:pt x="5124369" y="898423"/>
                </a:lnTo>
                <a:cubicBezTo>
                  <a:pt x="5018294" y="956612"/>
                  <a:pt x="4956355" y="1026761"/>
                  <a:pt x="4956355" y="1102270"/>
                </a:cubicBezTo>
                <a:cubicBezTo>
                  <a:pt x="4956355" y="1303629"/>
                  <a:pt x="5396808" y="1466863"/>
                  <a:pt x="5940133" y="1466863"/>
                </a:cubicBezTo>
                <a:cubicBezTo>
                  <a:pt x="6483459" y="1466863"/>
                  <a:pt x="6923911" y="1303629"/>
                  <a:pt x="6923911" y="1102270"/>
                </a:cubicBezTo>
                <a:cubicBezTo>
                  <a:pt x="6923911" y="1051930"/>
                  <a:pt x="6896383" y="1003973"/>
                  <a:pt x="6846601" y="960354"/>
                </a:cubicBezTo>
                <a:lnTo>
                  <a:pt x="6769536" y="907735"/>
                </a:lnTo>
                <a:lnTo>
                  <a:pt x="6912141" y="924789"/>
                </a:lnTo>
                <a:cubicBezTo>
                  <a:pt x="7044307" y="937105"/>
                  <a:pt x="7189616" y="943916"/>
                  <a:pt x="7342145" y="943916"/>
                </a:cubicBezTo>
                <a:cubicBezTo>
                  <a:pt x="7952261" y="943916"/>
                  <a:pt x="8446857" y="834944"/>
                  <a:pt x="8446857" y="700521"/>
                </a:cubicBezTo>
                <a:cubicBezTo>
                  <a:pt x="8446857" y="566098"/>
                  <a:pt x="7952261" y="457126"/>
                  <a:pt x="7342145" y="457126"/>
                </a:cubicBezTo>
                <a:cubicBezTo>
                  <a:pt x="6732029" y="457126"/>
                  <a:pt x="6237433" y="566098"/>
                  <a:pt x="6237433" y="700521"/>
                </a:cubicBezTo>
                <a:cubicBezTo>
                  <a:pt x="6237433" y="717324"/>
                  <a:pt x="6245161" y="733729"/>
                  <a:pt x="6259877" y="749574"/>
                </a:cubicBezTo>
                <a:lnTo>
                  <a:pt x="6275827" y="760894"/>
                </a:lnTo>
                <a:lnTo>
                  <a:pt x="6138399" y="745084"/>
                </a:lnTo>
                <a:cubicBezTo>
                  <a:pt x="6074358" y="740228"/>
                  <a:pt x="6008049" y="737677"/>
                  <a:pt x="5940133" y="737677"/>
                </a:cubicBezTo>
                <a:cubicBezTo>
                  <a:pt x="5804302" y="737677"/>
                  <a:pt x="5674900" y="747879"/>
                  <a:pt x="5557203" y="766329"/>
                </a:cubicBezTo>
                <a:lnTo>
                  <a:pt x="5527883" y="772227"/>
                </a:lnTo>
                <a:lnTo>
                  <a:pt x="5578533" y="736277"/>
                </a:lnTo>
                <a:cubicBezTo>
                  <a:pt x="5593248" y="720432"/>
                  <a:pt x="5600976" y="704027"/>
                  <a:pt x="5600976" y="687224"/>
                </a:cubicBezTo>
                <a:cubicBezTo>
                  <a:pt x="5600976" y="552801"/>
                  <a:pt x="5106380" y="443829"/>
                  <a:pt x="4496264" y="443829"/>
                </a:cubicBezTo>
                <a:close/>
                <a:moveTo>
                  <a:pt x="0" y="0"/>
                </a:moveTo>
                <a:lnTo>
                  <a:pt x="11894327" y="0"/>
                </a:lnTo>
                <a:lnTo>
                  <a:pt x="11894327" y="6419644"/>
                </a:lnTo>
                <a:lnTo>
                  <a:pt x="0" y="6419644"/>
                </a:lnTo>
                <a:close/>
              </a:path>
            </a:pathLst>
          </a:custGeom>
        </p:spPr>
      </p:pic>
      <p:grpSp>
        <p:nvGrpSpPr>
          <p:cNvPr id="662" name="CLOVER BASE">
            <a:extLst>
              <a:ext uri="{FF2B5EF4-FFF2-40B4-BE49-F238E27FC236}">
                <a16:creationId xmlns:a16="http://schemas.microsoft.com/office/drawing/2014/main" id="{6AF9AA9B-5767-4A22-B989-6679A400E6F1}"/>
              </a:ext>
            </a:extLst>
          </p:cNvPr>
          <p:cNvGrpSpPr/>
          <p:nvPr/>
        </p:nvGrpSpPr>
        <p:grpSpPr>
          <a:xfrm>
            <a:off x="3377161" y="-1752129"/>
            <a:ext cx="5393581" cy="5165830"/>
            <a:chOff x="3316587" y="1308960"/>
            <a:chExt cx="5393581" cy="5165830"/>
          </a:xfrm>
          <a:scene3d>
            <a:camera prst="perspectiveFront">
              <a:rot lat="17099985" lon="0" rev="0"/>
            </a:camera>
            <a:lightRig rig="threePt" dir="t"/>
          </a:scene3d>
        </p:grpSpPr>
        <p:grpSp>
          <p:nvGrpSpPr>
            <p:cNvPr id="663" name="Group 662">
              <a:extLst>
                <a:ext uri="{FF2B5EF4-FFF2-40B4-BE49-F238E27FC236}">
                  <a16:creationId xmlns:a16="http://schemas.microsoft.com/office/drawing/2014/main" id="{27A042D6-07D8-4847-9E18-880108DCDE57}"/>
                </a:ext>
              </a:extLst>
            </p:cNvPr>
            <p:cNvGrpSpPr/>
            <p:nvPr/>
          </p:nvGrpSpPr>
          <p:grpSpPr>
            <a:xfrm>
              <a:off x="5029116" y="3823067"/>
              <a:ext cx="1966104" cy="2651723"/>
              <a:chOff x="5029116" y="3823067"/>
              <a:chExt cx="1966104" cy="2651723"/>
            </a:xfrm>
          </p:grpSpPr>
          <p:sp>
            <p:nvSpPr>
              <p:cNvPr id="673" name="Top Clover Top">
                <a:extLst>
                  <a:ext uri="{FF2B5EF4-FFF2-40B4-BE49-F238E27FC236}">
                    <a16:creationId xmlns:a16="http://schemas.microsoft.com/office/drawing/2014/main" id="{BFA0F1AD-73C5-4BC7-B8C4-E2EBB4125C51}"/>
                  </a:ext>
                </a:extLst>
              </p:cNvPr>
              <p:cNvSpPr/>
              <p:nvPr/>
            </p:nvSpPr>
            <p:spPr>
              <a:xfrm rot="5400000" flipH="1">
                <a:off x="5148102"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4" name="Top Clover bottom">
                <a:extLst>
                  <a:ext uri="{FF2B5EF4-FFF2-40B4-BE49-F238E27FC236}">
                    <a16:creationId xmlns:a16="http://schemas.microsoft.com/office/drawing/2014/main" id="{E5470913-38C4-4A98-A76B-648C72F5003E}"/>
                  </a:ext>
                </a:extLst>
              </p:cNvPr>
              <p:cNvSpPr/>
              <p:nvPr/>
            </p:nvSpPr>
            <p:spPr>
              <a:xfrm rot="5400000" flipH="1" flipV="1">
                <a:off x="4224510" y="4627673"/>
                <a:ext cx="2651723" cy="1042512"/>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64" name="Group 663">
              <a:extLst>
                <a:ext uri="{FF2B5EF4-FFF2-40B4-BE49-F238E27FC236}">
                  <a16:creationId xmlns:a16="http://schemas.microsoft.com/office/drawing/2014/main" id="{5E07E4E6-B4D8-4213-920A-BCFEF4037170}"/>
                </a:ext>
              </a:extLst>
            </p:cNvPr>
            <p:cNvGrpSpPr/>
            <p:nvPr/>
          </p:nvGrpSpPr>
          <p:grpSpPr>
            <a:xfrm>
              <a:off x="3316587" y="2831785"/>
              <a:ext cx="2770826" cy="2116462"/>
              <a:chOff x="3316587" y="2831785"/>
              <a:chExt cx="2770826" cy="2116462"/>
            </a:xfrm>
          </p:grpSpPr>
          <p:sp>
            <p:nvSpPr>
              <p:cNvPr id="671" name="Left Clover Top">
                <a:extLst>
                  <a:ext uri="{FF2B5EF4-FFF2-40B4-BE49-F238E27FC236}">
                    <a16:creationId xmlns:a16="http://schemas.microsoft.com/office/drawing/2014/main" id="{89DEC965-A76F-41BB-8E3B-CC52C80CCBB6}"/>
                  </a:ext>
                </a:extLst>
              </p:cNvPr>
              <p:cNvSpPr/>
              <p:nvPr/>
            </p:nvSpPr>
            <p:spPr>
              <a:xfrm>
                <a:off x="3316587" y="283178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2" name="Left Clover bottom">
                <a:extLst>
                  <a:ext uri="{FF2B5EF4-FFF2-40B4-BE49-F238E27FC236}">
                    <a16:creationId xmlns:a16="http://schemas.microsoft.com/office/drawing/2014/main" id="{4086EA45-E6E1-4F4A-9CD0-ED81DA19CDF9}"/>
                  </a:ext>
                </a:extLst>
              </p:cNvPr>
              <p:cNvSpPr/>
              <p:nvPr/>
            </p:nvSpPr>
            <p:spPr>
              <a:xfrm flipV="1">
                <a:off x="3316587" y="3826009"/>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65" name="Group 664">
              <a:extLst>
                <a:ext uri="{FF2B5EF4-FFF2-40B4-BE49-F238E27FC236}">
                  <a16:creationId xmlns:a16="http://schemas.microsoft.com/office/drawing/2014/main" id="{B36ACF00-9669-4F86-B120-85795FF3DF0A}"/>
                </a:ext>
              </a:extLst>
            </p:cNvPr>
            <p:cNvGrpSpPr/>
            <p:nvPr/>
          </p:nvGrpSpPr>
          <p:grpSpPr>
            <a:xfrm>
              <a:off x="5939312" y="2829753"/>
              <a:ext cx="2770856" cy="2109540"/>
              <a:chOff x="5939312" y="2829753"/>
              <a:chExt cx="2770856" cy="2109540"/>
            </a:xfrm>
          </p:grpSpPr>
          <p:sp>
            <p:nvSpPr>
              <p:cNvPr id="669" name="Right Clover Top">
                <a:extLst>
                  <a:ext uri="{FF2B5EF4-FFF2-40B4-BE49-F238E27FC236}">
                    <a16:creationId xmlns:a16="http://schemas.microsoft.com/office/drawing/2014/main" id="{CCCC985B-0C76-40B1-AB06-A48FCEDDFC0C}"/>
                  </a:ext>
                </a:extLst>
              </p:cNvPr>
              <p:cNvSpPr/>
              <p:nvPr/>
            </p:nvSpPr>
            <p:spPr>
              <a:xfrm flipH="1">
                <a:off x="5939342" y="2829753"/>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70" name="Right Clover bottom">
                <a:extLst>
                  <a:ext uri="{FF2B5EF4-FFF2-40B4-BE49-F238E27FC236}">
                    <a16:creationId xmlns:a16="http://schemas.microsoft.com/office/drawing/2014/main" id="{1016B17B-9B22-4B2A-B130-9A6A8F616667}"/>
                  </a:ext>
                </a:extLst>
              </p:cNvPr>
              <p:cNvSpPr/>
              <p:nvPr/>
            </p:nvSpPr>
            <p:spPr>
              <a:xfrm flipH="1" flipV="1">
                <a:off x="5939312" y="3817055"/>
                <a:ext cx="2770826" cy="1122238"/>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66" name="Group 665">
              <a:extLst>
                <a:ext uri="{FF2B5EF4-FFF2-40B4-BE49-F238E27FC236}">
                  <a16:creationId xmlns:a16="http://schemas.microsoft.com/office/drawing/2014/main" id="{563B6705-13C2-46C8-AC78-B050EF42C516}"/>
                </a:ext>
              </a:extLst>
            </p:cNvPr>
            <p:cNvGrpSpPr/>
            <p:nvPr/>
          </p:nvGrpSpPr>
          <p:grpSpPr>
            <a:xfrm>
              <a:off x="5031927" y="1308960"/>
              <a:ext cx="1966102" cy="2651723"/>
              <a:chOff x="5031927" y="1308960"/>
              <a:chExt cx="1966102" cy="2651723"/>
            </a:xfrm>
          </p:grpSpPr>
          <p:sp>
            <p:nvSpPr>
              <p:cNvPr id="667" name="Top Clover Top">
                <a:extLst>
                  <a:ext uri="{FF2B5EF4-FFF2-40B4-BE49-F238E27FC236}">
                    <a16:creationId xmlns:a16="http://schemas.microsoft.com/office/drawing/2014/main" id="{39815DE3-60FD-4CEC-8F60-F02EC6579BF0}"/>
                  </a:ext>
                </a:extLst>
              </p:cNvPr>
              <p:cNvSpPr/>
              <p:nvPr/>
            </p:nvSpPr>
            <p:spPr>
              <a:xfrm rot="16200000" flipH="1">
                <a:off x="4227321"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68" name="Top Clover bottom">
                <a:extLst>
                  <a:ext uri="{FF2B5EF4-FFF2-40B4-BE49-F238E27FC236}">
                    <a16:creationId xmlns:a16="http://schemas.microsoft.com/office/drawing/2014/main" id="{2347BC55-6642-4E82-85D3-F11DB5D035E0}"/>
                  </a:ext>
                </a:extLst>
              </p:cNvPr>
              <p:cNvSpPr/>
              <p:nvPr/>
            </p:nvSpPr>
            <p:spPr>
              <a:xfrm rot="16200000" flipH="1" flipV="1">
                <a:off x="5150912" y="2113566"/>
                <a:ext cx="2651723" cy="1042511"/>
              </a:xfrm>
              <a:custGeom>
                <a:avLst/>
                <a:gdLst>
                  <a:gd name="connsiteX0" fmla="*/ 3517613 w 6895420"/>
                  <a:gd name="connsiteY0" fmla="*/ 1310779 h 2747927"/>
                  <a:gd name="connsiteX1" fmla="*/ 4793408 w 6895420"/>
                  <a:gd name="connsiteY1" fmla="*/ 242680 h 2747927"/>
                  <a:gd name="connsiteX2" fmla="*/ 4793408 w 6895420"/>
                  <a:gd name="connsiteY2" fmla="*/ 242680 h 2747927"/>
                  <a:gd name="connsiteX3" fmla="*/ 5529771 w 6895420"/>
                  <a:gd name="connsiteY3" fmla="*/ 22617 h 2747927"/>
                  <a:gd name="connsiteX4" fmla="*/ 6875371 w 6895420"/>
                  <a:gd name="connsiteY4" fmla="*/ 1374347 h 2747927"/>
                  <a:gd name="connsiteX5" fmla="*/ 5529771 w 6895420"/>
                  <a:gd name="connsiteY5" fmla="*/ 2726076 h 2747927"/>
                  <a:gd name="connsiteX6" fmla="*/ 4793408 w 6895420"/>
                  <a:gd name="connsiteY6" fmla="*/ 2506014 h 2747927"/>
                  <a:gd name="connsiteX7" fmla="*/ 4793408 w 6895420"/>
                  <a:gd name="connsiteY7" fmla="*/ 2506014 h 2747927"/>
                  <a:gd name="connsiteX8" fmla="*/ 3517613 w 6895420"/>
                  <a:gd name="connsiteY8" fmla="*/ 1438199 h 2747927"/>
                  <a:gd name="connsiteX9" fmla="*/ 3380273 w 6895420"/>
                  <a:gd name="connsiteY9" fmla="*/ 1311350 h 2747927"/>
                  <a:gd name="connsiteX10" fmla="*/ 2104194 w 6895420"/>
                  <a:gd name="connsiteY10" fmla="*/ 242680 h 2747927"/>
                  <a:gd name="connsiteX11" fmla="*/ 2104194 w 6895420"/>
                  <a:gd name="connsiteY11" fmla="*/ 242680 h 2747927"/>
                  <a:gd name="connsiteX12" fmla="*/ 1368115 w 6895420"/>
                  <a:gd name="connsiteY12" fmla="*/ 22617 h 2747927"/>
                  <a:gd name="connsiteX13" fmla="*/ 22515 w 6895420"/>
                  <a:gd name="connsiteY13" fmla="*/ 1374347 h 2747927"/>
                  <a:gd name="connsiteX14" fmla="*/ 1368115 w 6895420"/>
                  <a:gd name="connsiteY14" fmla="*/ 2726076 h 2747927"/>
                  <a:gd name="connsiteX15" fmla="*/ 2104478 w 6895420"/>
                  <a:gd name="connsiteY15" fmla="*/ 2506014 h 2747927"/>
                  <a:gd name="connsiteX16" fmla="*/ 2104478 w 6895420"/>
                  <a:gd name="connsiteY16" fmla="*/ 2506014 h 2747927"/>
                  <a:gd name="connsiteX17" fmla="*/ 3380556 w 6895420"/>
                  <a:gd name="connsiteY17" fmla="*/ 1437914 h 2747927"/>
                  <a:gd name="connsiteX0" fmla="*/ 4770893 w 6852856"/>
                  <a:gd name="connsiteY0" fmla="*/ 220063 h 2703459"/>
                  <a:gd name="connsiteX1" fmla="*/ 4770893 w 6852856"/>
                  <a:gd name="connsiteY1" fmla="*/ 220063 h 2703459"/>
                  <a:gd name="connsiteX2" fmla="*/ 5507256 w 6852856"/>
                  <a:gd name="connsiteY2" fmla="*/ 0 h 2703459"/>
                  <a:gd name="connsiteX3" fmla="*/ 6852856 w 6852856"/>
                  <a:gd name="connsiteY3" fmla="*/ 1351730 h 2703459"/>
                  <a:gd name="connsiteX4" fmla="*/ 5507256 w 6852856"/>
                  <a:gd name="connsiteY4" fmla="*/ 2703459 h 2703459"/>
                  <a:gd name="connsiteX5" fmla="*/ 4770893 w 6852856"/>
                  <a:gd name="connsiteY5" fmla="*/ 2483397 h 2703459"/>
                  <a:gd name="connsiteX6" fmla="*/ 4770893 w 6852856"/>
                  <a:gd name="connsiteY6" fmla="*/ 2483397 h 2703459"/>
                  <a:gd name="connsiteX7" fmla="*/ 3495098 w 6852856"/>
                  <a:gd name="connsiteY7" fmla="*/ 1415582 h 2703459"/>
                  <a:gd name="connsiteX8" fmla="*/ 3357758 w 6852856"/>
                  <a:gd name="connsiteY8" fmla="*/ 1288733 h 2703459"/>
                  <a:gd name="connsiteX9" fmla="*/ 2081679 w 6852856"/>
                  <a:gd name="connsiteY9" fmla="*/ 220063 h 2703459"/>
                  <a:gd name="connsiteX10" fmla="*/ 2081679 w 6852856"/>
                  <a:gd name="connsiteY10" fmla="*/ 220063 h 2703459"/>
                  <a:gd name="connsiteX11" fmla="*/ 1345600 w 6852856"/>
                  <a:gd name="connsiteY11" fmla="*/ 0 h 2703459"/>
                  <a:gd name="connsiteX12" fmla="*/ 0 w 6852856"/>
                  <a:gd name="connsiteY12" fmla="*/ 1351730 h 2703459"/>
                  <a:gd name="connsiteX13" fmla="*/ 1345600 w 6852856"/>
                  <a:gd name="connsiteY13" fmla="*/ 2703459 h 2703459"/>
                  <a:gd name="connsiteX14" fmla="*/ 2081963 w 6852856"/>
                  <a:gd name="connsiteY14" fmla="*/ 2483397 h 2703459"/>
                  <a:gd name="connsiteX15" fmla="*/ 2081963 w 6852856"/>
                  <a:gd name="connsiteY15" fmla="*/ 2483397 h 2703459"/>
                  <a:gd name="connsiteX16" fmla="*/ 3358041 w 6852856"/>
                  <a:gd name="connsiteY16" fmla="*/ 1415297 h 2703459"/>
                  <a:gd name="connsiteX0" fmla="*/ 4770893 w 6852856"/>
                  <a:gd name="connsiteY0" fmla="*/ 220063 h 2703459"/>
                  <a:gd name="connsiteX1" fmla="*/ 5507256 w 6852856"/>
                  <a:gd name="connsiteY1" fmla="*/ 0 h 2703459"/>
                  <a:gd name="connsiteX2" fmla="*/ 6852856 w 6852856"/>
                  <a:gd name="connsiteY2" fmla="*/ 1351730 h 2703459"/>
                  <a:gd name="connsiteX3" fmla="*/ 5507256 w 6852856"/>
                  <a:gd name="connsiteY3" fmla="*/ 2703459 h 2703459"/>
                  <a:gd name="connsiteX4" fmla="*/ 4770893 w 6852856"/>
                  <a:gd name="connsiteY4" fmla="*/ 2483397 h 2703459"/>
                  <a:gd name="connsiteX5" fmla="*/ 4770893 w 6852856"/>
                  <a:gd name="connsiteY5" fmla="*/ 2483397 h 2703459"/>
                  <a:gd name="connsiteX6" fmla="*/ 3495098 w 6852856"/>
                  <a:gd name="connsiteY6" fmla="*/ 1415582 h 2703459"/>
                  <a:gd name="connsiteX7" fmla="*/ 3357758 w 6852856"/>
                  <a:gd name="connsiteY7" fmla="*/ 1288733 h 2703459"/>
                  <a:gd name="connsiteX8" fmla="*/ 2081679 w 6852856"/>
                  <a:gd name="connsiteY8" fmla="*/ 220063 h 2703459"/>
                  <a:gd name="connsiteX9" fmla="*/ 2081679 w 6852856"/>
                  <a:gd name="connsiteY9" fmla="*/ 220063 h 2703459"/>
                  <a:gd name="connsiteX10" fmla="*/ 1345600 w 6852856"/>
                  <a:gd name="connsiteY10" fmla="*/ 0 h 2703459"/>
                  <a:gd name="connsiteX11" fmla="*/ 0 w 6852856"/>
                  <a:gd name="connsiteY11" fmla="*/ 1351730 h 2703459"/>
                  <a:gd name="connsiteX12" fmla="*/ 1345600 w 6852856"/>
                  <a:gd name="connsiteY12" fmla="*/ 2703459 h 2703459"/>
                  <a:gd name="connsiteX13" fmla="*/ 2081963 w 6852856"/>
                  <a:gd name="connsiteY13" fmla="*/ 2483397 h 2703459"/>
                  <a:gd name="connsiteX14" fmla="*/ 2081963 w 6852856"/>
                  <a:gd name="connsiteY14" fmla="*/ 2483397 h 2703459"/>
                  <a:gd name="connsiteX15" fmla="*/ 3358041 w 6852856"/>
                  <a:gd name="connsiteY15" fmla="*/ 1415297 h 2703459"/>
                  <a:gd name="connsiteX0" fmla="*/ 5507256 w 6852856"/>
                  <a:gd name="connsiteY0" fmla="*/ 0 h 2703459"/>
                  <a:gd name="connsiteX1" fmla="*/ 6852856 w 6852856"/>
                  <a:gd name="connsiteY1" fmla="*/ 1351730 h 2703459"/>
                  <a:gd name="connsiteX2" fmla="*/ 5507256 w 6852856"/>
                  <a:gd name="connsiteY2" fmla="*/ 2703459 h 2703459"/>
                  <a:gd name="connsiteX3" fmla="*/ 4770893 w 6852856"/>
                  <a:gd name="connsiteY3" fmla="*/ 2483397 h 2703459"/>
                  <a:gd name="connsiteX4" fmla="*/ 4770893 w 6852856"/>
                  <a:gd name="connsiteY4" fmla="*/ 2483397 h 2703459"/>
                  <a:gd name="connsiteX5" fmla="*/ 3495098 w 6852856"/>
                  <a:gd name="connsiteY5" fmla="*/ 1415582 h 2703459"/>
                  <a:gd name="connsiteX6" fmla="*/ 3357758 w 6852856"/>
                  <a:gd name="connsiteY6" fmla="*/ 1288733 h 2703459"/>
                  <a:gd name="connsiteX7" fmla="*/ 2081679 w 6852856"/>
                  <a:gd name="connsiteY7" fmla="*/ 220063 h 2703459"/>
                  <a:gd name="connsiteX8" fmla="*/ 2081679 w 6852856"/>
                  <a:gd name="connsiteY8" fmla="*/ 220063 h 2703459"/>
                  <a:gd name="connsiteX9" fmla="*/ 1345600 w 6852856"/>
                  <a:gd name="connsiteY9" fmla="*/ 0 h 2703459"/>
                  <a:gd name="connsiteX10" fmla="*/ 0 w 6852856"/>
                  <a:gd name="connsiteY10" fmla="*/ 1351730 h 2703459"/>
                  <a:gd name="connsiteX11" fmla="*/ 1345600 w 6852856"/>
                  <a:gd name="connsiteY11" fmla="*/ 2703459 h 2703459"/>
                  <a:gd name="connsiteX12" fmla="*/ 2081963 w 6852856"/>
                  <a:gd name="connsiteY12" fmla="*/ 2483397 h 2703459"/>
                  <a:gd name="connsiteX13" fmla="*/ 2081963 w 6852856"/>
                  <a:gd name="connsiteY13" fmla="*/ 2483397 h 2703459"/>
                  <a:gd name="connsiteX14" fmla="*/ 3358041 w 6852856"/>
                  <a:gd name="connsiteY14" fmla="*/ 1415297 h 2703459"/>
                  <a:gd name="connsiteX0" fmla="*/ 6852856 w 6852856"/>
                  <a:gd name="connsiteY0" fmla="*/ 1351730 h 2703459"/>
                  <a:gd name="connsiteX1" fmla="*/ 5507256 w 6852856"/>
                  <a:gd name="connsiteY1" fmla="*/ 2703459 h 2703459"/>
                  <a:gd name="connsiteX2" fmla="*/ 4770893 w 6852856"/>
                  <a:gd name="connsiteY2" fmla="*/ 2483397 h 2703459"/>
                  <a:gd name="connsiteX3" fmla="*/ 4770893 w 6852856"/>
                  <a:gd name="connsiteY3" fmla="*/ 2483397 h 2703459"/>
                  <a:gd name="connsiteX4" fmla="*/ 3495098 w 6852856"/>
                  <a:gd name="connsiteY4" fmla="*/ 1415582 h 2703459"/>
                  <a:gd name="connsiteX5" fmla="*/ 3357758 w 6852856"/>
                  <a:gd name="connsiteY5" fmla="*/ 1288733 h 2703459"/>
                  <a:gd name="connsiteX6" fmla="*/ 2081679 w 6852856"/>
                  <a:gd name="connsiteY6" fmla="*/ 220063 h 2703459"/>
                  <a:gd name="connsiteX7" fmla="*/ 2081679 w 6852856"/>
                  <a:gd name="connsiteY7" fmla="*/ 220063 h 2703459"/>
                  <a:gd name="connsiteX8" fmla="*/ 1345600 w 6852856"/>
                  <a:gd name="connsiteY8" fmla="*/ 0 h 2703459"/>
                  <a:gd name="connsiteX9" fmla="*/ 0 w 6852856"/>
                  <a:gd name="connsiteY9" fmla="*/ 1351730 h 2703459"/>
                  <a:gd name="connsiteX10" fmla="*/ 1345600 w 6852856"/>
                  <a:gd name="connsiteY10" fmla="*/ 2703459 h 2703459"/>
                  <a:gd name="connsiteX11" fmla="*/ 2081963 w 6852856"/>
                  <a:gd name="connsiteY11" fmla="*/ 2483397 h 2703459"/>
                  <a:gd name="connsiteX12" fmla="*/ 2081963 w 6852856"/>
                  <a:gd name="connsiteY12" fmla="*/ 2483397 h 2703459"/>
                  <a:gd name="connsiteX13" fmla="*/ 3358041 w 6852856"/>
                  <a:gd name="connsiteY13" fmla="*/ 1415297 h 2703459"/>
                  <a:gd name="connsiteX0" fmla="*/ 5507256 w 5507256"/>
                  <a:gd name="connsiteY0" fmla="*/ 2703459 h 2703459"/>
                  <a:gd name="connsiteX1" fmla="*/ 4770893 w 5507256"/>
                  <a:gd name="connsiteY1" fmla="*/ 2483397 h 2703459"/>
                  <a:gd name="connsiteX2" fmla="*/ 4770893 w 5507256"/>
                  <a:gd name="connsiteY2" fmla="*/ 2483397 h 2703459"/>
                  <a:gd name="connsiteX3" fmla="*/ 3495098 w 5507256"/>
                  <a:gd name="connsiteY3" fmla="*/ 1415582 h 2703459"/>
                  <a:gd name="connsiteX4" fmla="*/ 3357758 w 5507256"/>
                  <a:gd name="connsiteY4" fmla="*/ 1288733 h 2703459"/>
                  <a:gd name="connsiteX5" fmla="*/ 2081679 w 5507256"/>
                  <a:gd name="connsiteY5" fmla="*/ 220063 h 2703459"/>
                  <a:gd name="connsiteX6" fmla="*/ 2081679 w 5507256"/>
                  <a:gd name="connsiteY6" fmla="*/ 220063 h 2703459"/>
                  <a:gd name="connsiteX7" fmla="*/ 1345600 w 5507256"/>
                  <a:gd name="connsiteY7" fmla="*/ 0 h 2703459"/>
                  <a:gd name="connsiteX8" fmla="*/ 0 w 5507256"/>
                  <a:gd name="connsiteY8" fmla="*/ 1351730 h 2703459"/>
                  <a:gd name="connsiteX9" fmla="*/ 1345600 w 5507256"/>
                  <a:gd name="connsiteY9" fmla="*/ 2703459 h 2703459"/>
                  <a:gd name="connsiteX10" fmla="*/ 2081963 w 5507256"/>
                  <a:gd name="connsiteY10" fmla="*/ 2483397 h 2703459"/>
                  <a:gd name="connsiteX11" fmla="*/ 2081963 w 5507256"/>
                  <a:gd name="connsiteY11" fmla="*/ 2483397 h 2703459"/>
                  <a:gd name="connsiteX12" fmla="*/ 3358041 w 5507256"/>
                  <a:gd name="connsiteY12" fmla="*/ 1415297 h 2703459"/>
                  <a:gd name="connsiteX0" fmla="*/ 4770893 w 4770893"/>
                  <a:gd name="connsiteY0" fmla="*/ 2483397 h 2703459"/>
                  <a:gd name="connsiteX1" fmla="*/ 4770893 w 4770893"/>
                  <a:gd name="connsiteY1" fmla="*/ 2483397 h 2703459"/>
                  <a:gd name="connsiteX2" fmla="*/ 3495098 w 4770893"/>
                  <a:gd name="connsiteY2" fmla="*/ 1415582 h 2703459"/>
                  <a:gd name="connsiteX3" fmla="*/ 3357758 w 4770893"/>
                  <a:gd name="connsiteY3" fmla="*/ 1288733 h 2703459"/>
                  <a:gd name="connsiteX4" fmla="*/ 2081679 w 4770893"/>
                  <a:gd name="connsiteY4" fmla="*/ 220063 h 2703459"/>
                  <a:gd name="connsiteX5" fmla="*/ 2081679 w 4770893"/>
                  <a:gd name="connsiteY5" fmla="*/ 220063 h 2703459"/>
                  <a:gd name="connsiteX6" fmla="*/ 1345600 w 4770893"/>
                  <a:gd name="connsiteY6" fmla="*/ 0 h 2703459"/>
                  <a:gd name="connsiteX7" fmla="*/ 0 w 4770893"/>
                  <a:gd name="connsiteY7" fmla="*/ 1351730 h 2703459"/>
                  <a:gd name="connsiteX8" fmla="*/ 1345600 w 4770893"/>
                  <a:gd name="connsiteY8" fmla="*/ 2703459 h 2703459"/>
                  <a:gd name="connsiteX9" fmla="*/ 2081963 w 4770893"/>
                  <a:gd name="connsiteY9" fmla="*/ 2483397 h 2703459"/>
                  <a:gd name="connsiteX10" fmla="*/ 2081963 w 4770893"/>
                  <a:gd name="connsiteY10" fmla="*/ 2483397 h 2703459"/>
                  <a:gd name="connsiteX11" fmla="*/ 3358041 w 4770893"/>
                  <a:gd name="connsiteY11" fmla="*/ 1415297 h 2703459"/>
                  <a:gd name="connsiteX0" fmla="*/ 4770893 w 4770893"/>
                  <a:gd name="connsiteY0" fmla="*/ 2483397 h 2703459"/>
                  <a:gd name="connsiteX1" fmla="*/ 3495098 w 4770893"/>
                  <a:gd name="connsiteY1" fmla="*/ 1415582 h 2703459"/>
                  <a:gd name="connsiteX2" fmla="*/ 3357758 w 4770893"/>
                  <a:gd name="connsiteY2" fmla="*/ 1288733 h 2703459"/>
                  <a:gd name="connsiteX3" fmla="*/ 2081679 w 4770893"/>
                  <a:gd name="connsiteY3" fmla="*/ 220063 h 2703459"/>
                  <a:gd name="connsiteX4" fmla="*/ 2081679 w 4770893"/>
                  <a:gd name="connsiteY4" fmla="*/ 220063 h 2703459"/>
                  <a:gd name="connsiteX5" fmla="*/ 1345600 w 4770893"/>
                  <a:gd name="connsiteY5" fmla="*/ 0 h 2703459"/>
                  <a:gd name="connsiteX6" fmla="*/ 0 w 4770893"/>
                  <a:gd name="connsiteY6" fmla="*/ 1351730 h 2703459"/>
                  <a:gd name="connsiteX7" fmla="*/ 1345600 w 4770893"/>
                  <a:gd name="connsiteY7" fmla="*/ 2703459 h 2703459"/>
                  <a:gd name="connsiteX8" fmla="*/ 2081963 w 4770893"/>
                  <a:gd name="connsiteY8" fmla="*/ 2483397 h 2703459"/>
                  <a:gd name="connsiteX9" fmla="*/ 2081963 w 4770893"/>
                  <a:gd name="connsiteY9" fmla="*/ 2483397 h 2703459"/>
                  <a:gd name="connsiteX10" fmla="*/ 3358041 w 4770893"/>
                  <a:gd name="connsiteY10"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9" fmla="*/ 3358041 w 3495098"/>
                  <a:gd name="connsiteY9" fmla="*/ 14152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8" fmla="*/ 2081963 w 3495098"/>
                  <a:gd name="connsiteY8"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7" fmla="*/ 2081963 w 3495098"/>
                  <a:gd name="connsiteY7" fmla="*/ 2483397 h 2703459"/>
                  <a:gd name="connsiteX0" fmla="*/ 3495098 w 3495098"/>
                  <a:gd name="connsiteY0" fmla="*/ 1415582 h 2703459"/>
                  <a:gd name="connsiteX1" fmla="*/ 3357758 w 3495098"/>
                  <a:gd name="connsiteY1" fmla="*/ 1288733 h 2703459"/>
                  <a:gd name="connsiteX2" fmla="*/ 2081679 w 3495098"/>
                  <a:gd name="connsiteY2" fmla="*/ 220063 h 2703459"/>
                  <a:gd name="connsiteX3" fmla="*/ 2081679 w 3495098"/>
                  <a:gd name="connsiteY3" fmla="*/ 220063 h 2703459"/>
                  <a:gd name="connsiteX4" fmla="*/ 1345600 w 3495098"/>
                  <a:gd name="connsiteY4" fmla="*/ 0 h 2703459"/>
                  <a:gd name="connsiteX5" fmla="*/ 0 w 3495098"/>
                  <a:gd name="connsiteY5" fmla="*/ 1351730 h 2703459"/>
                  <a:gd name="connsiteX6" fmla="*/ 1345600 w 3495098"/>
                  <a:gd name="connsiteY6" fmla="*/ 2703459 h 2703459"/>
                  <a:gd name="connsiteX0" fmla="*/ 3495098 w 3495098"/>
                  <a:gd name="connsiteY0" fmla="*/ 1415582 h 1415582"/>
                  <a:gd name="connsiteX1" fmla="*/ 3357758 w 3495098"/>
                  <a:gd name="connsiteY1" fmla="*/ 1288733 h 1415582"/>
                  <a:gd name="connsiteX2" fmla="*/ 2081679 w 3495098"/>
                  <a:gd name="connsiteY2" fmla="*/ 220063 h 1415582"/>
                  <a:gd name="connsiteX3" fmla="*/ 2081679 w 3495098"/>
                  <a:gd name="connsiteY3" fmla="*/ 220063 h 1415582"/>
                  <a:gd name="connsiteX4" fmla="*/ 1345600 w 3495098"/>
                  <a:gd name="connsiteY4" fmla="*/ 0 h 1415582"/>
                  <a:gd name="connsiteX5" fmla="*/ 0 w 3495098"/>
                  <a:gd name="connsiteY5" fmla="*/ 1351730 h 141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5098" h="1415582">
                    <a:moveTo>
                      <a:pt x="3495098" y="1415582"/>
                    </a:moveTo>
                    <a:lnTo>
                      <a:pt x="3357758" y="1288733"/>
                    </a:lnTo>
                    <a:cubicBezTo>
                      <a:pt x="2410843" y="417605"/>
                      <a:pt x="2081679" y="220063"/>
                      <a:pt x="2081679" y="220063"/>
                    </a:cubicBezTo>
                    <a:lnTo>
                      <a:pt x="2081679" y="220063"/>
                    </a:lnTo>
                    <a:cubicBezTo>
                      <a:pt x="1870276" y="80956"/>
                      <a:pt x="1617444" y="0"/>
                      <a:pt x="1345600" y="0"/>
                    </a:cubicBezTo>
                    <a:cubicBezTo>
                      <a:pt x="602427" y="0"/>
                      <a:pt x="0" y="605171"/>
                      <a:pt x="0" y="1351730"/>
                    </a:cubicBezTo>
                  </a:path>
                </a:pathLst>
              </a:custGeom>
              <a:noFill/>
              <a:ln w="28575" cap="flat">
                <a:solidFill>
                  <a:srgbClr val="008272"/>
                </a:solidFill>
                <a:prstDash val="solid"/>
                <a:miter/>
              </a:ln>
              <a:sp3d>
                <a:bevelB w="139700" prst="softRound"/>
              </a:sp3d>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sp>
        <p:nvSpPr>
          <p:cNvPr id="675" name="GREY GLOW">
            <a:extLst>
              <a:ext uri="{FF2B5EF4-FFF2-40B4-BE49-F238E27FC236}">
                <a16:creationId xmlns:a16="http://schemas.microsoft.com/office/drawing/2014/main" id="{39DDFCD2-624C-4747-8242-C7AECB91B529}"/>
              </a:ext>
            </a:extLst>
          </p:cNvPr>
          <p:cNvSpPr/>
          <p:nvPr/>
        </p:nvSpPr>
        <p:spPr bwMode="auto">
          <a:xfrm>
            <a:off x="4912562" y="-400102"/>
            <a:ext cx="2428227" cy="2428219"/>
          </a:xfrm>
          <a:prstGeom prst="ellipse">
            <a:avLst/>
          </a:prstGeom>
          <a:gradFill flip="none" rotWithShape="1">
            <a:gsLst>
              <a:gs pos="44000">
                <a:srgbClr val="E7E6E6"/>
              </a:gs>
              <a:gs pos="100000">
                <a:srgbClr val="E7E6E6">
                  <a:alpha val="0"/>
                </a:srgbClr>
              </a:gs>
            </a:gsLst>
            <a:path path="shape">
              <a:fillToRect l="50000" t="50000" r="50000" b="50000"/>
            </a:path>
            <a:tileRect/>
          </a:gradFill>
          <a:ln w="9525" cap="flat" cmpd="sng" algn="ctr">
            <a:noFill/>
            <a:prstDash val="solid"/>
            <a:headEnd type="none" w="med" len="med"/>
            <a:tailEnd type="none" w="med" len="med"/>
          </a:ln>
          <a:effectLst/>
          <a:scene3d>
            <a:camera prst="perspectiveFront">
              <a:rot lat="17099985" lon="0" rev="0"/>
            </a:camera>
            <a:lightRig rig="threePt" dir="t"/>
          </a:scene3d>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6" name="ICON EC">
            <a:extLst>
              <a:ext uri="{FF2B5EF4-FFF2-40B4-BE49-F238E27FC236}">
                <a16:creationId xmlns:a16="http://schemas.microsoft.com/office/drawing/2014/main" id="{6C1F46FE-A743-432C-8543-DE156E0AB5E5}"/>
              </a:ext>
            </a:extLst>
          </p:cNvPr>
          <p:cNvGrpSpPr>
            <a:grpSpLocks noChangeAspect="1"/>
          </p:cNvGrpSpPr>
          <p:nvPr/>
        </p:nvGrpSpPr>
        <p:grpSpPr bwMode="auto">
          <a:xfrm>
            <a:off x="3925608" y="385644"/>
            <a:ext cx="892590" cy="895247"/>
            <a:chOff x="3502" y="1823"/>
            <a:chExt cx="672" cy="674"/>
          </a:xfrm>
          <a:scene3d>
            <a:camera prst="perspectiveFront">
              <a:rot lat="17099985" lon="0" rev="0"/>
            </a:camera>
            <a:lightRig rig="threePt" dir="t"/>
          </a:scene3d>
        </p:grpSpPr>
        <p:sp>
          <p:nvSpPr>
            <p:cNvPr id="677" name="Oval 146">
              <a:extLst>
                <a:ext uri="{FF2B5EF4-FFF2-40B4-BE49-F238E27FC236}">
                  <a16:creationId xmlns:a16="http://schemas.microsoft.com/office/drawing/2014/main" id="{9C71E99D-D8E4-4F9B-9004-AE342F61EFB0}"/>
                </a:ext>
              </a:extLst>
            </p:cNvPr>
            <p:cNvSpPr>
              <a:spLocks noChangeArrowheads="1"/>
            </p:cNvSpPr>
            <p:nvPr/>
          </p:nvSpPr>
          <p:spPr bwMode="auto">
            <a:xfrm>
              <a:off x="3502" y="1823"/>
              <a:ext cx="672" cy="67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h="5715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678" name="Freeform 147">
              <a:extLst>
                <a:ext uri="{FF2B5EF4-FFF2-40B4-BE49-F238E27FC236}">
                  <a16:creationId xmlns:a16="http://schemas.microsoft.com/office/drawing/2014/main" id="{6F00C146-878E-423A-9B4F-5064910FFFA4}"/>
                </a:ext>
              </a:extLst>
            </p:cNvPr>
            <p:cNvSpPr>
              <a:spLocks/>
            </p:cNvSpPr>
            <p:nvPr/>
          </p:nvSpPr>
          <p:spPr bwMode="auto">
            <a:xfrm>
              <a:off x="3759" y="2006"/>
              <a:ext cx="244" cy="279"/>
            </a:xfrm>
            <a:custGeom>
              <a:avLst/>
              <a:gdLst>
                <a:gd name="T0" fmla="*/ 0 w 119"/>
                <a:gd name="T1" fmla="*/ 69 h 135"/>
                <a:gd name="T2" fmla="*/ 17 w 119"/>
                <a:gd name="T3" fmla="*/ 29 h 135"/>
                <a:gd name="T4" fmla="*/ 17 w 119"/>
                <a:gd name="T5" fmla="*/ 11 h 135"/>
                <a:gd name="T6" fmla="*/ 28 w 119"/>
                <a:gd name="T7" fmla="*/ 0 h 135"/>
                <a:gd name="T8" fmla="*/ 108 w 119"/>
                <a:gd name="T9" fmla="*/ 0 h 135"/>
                <a:gd name="T10" fmla="*/ 119 w 119"/>
                <a:gd name="T11" fmla="*/ 11 h 135"/>
                <a:gd name="T12" fmla="*/ 119 w 119"/>
                <a:gd name="T13" fmla="*/ 97 h 135"/>
                <a:gd name="T14" fmla="*/ 108 w 119"/>
                <a:gd name="T15" fmla="*/ 108 h 135"/>
                <a:gd name="T16" fmla="*/ 105 w 119"/>
                <a:gd name="T17" fmla="*/ 108 h 135"/>
                <a:gd name="T18" fmla="*/ 103 w 119"/>
                <a:gd name="T19" fmla="*/ 108 h 135"/>
                <a:gd name="T20" fmla="*/ 77 w 119"/>
                <a:gd name="T21" fmla="*/ 135 h 135"/>
                <a:gd name="T22" fmla="*/ 77 w 119"/>
                <a:gd name="T23" fmla="*/ 108 h 135"/>
                <a:gd name="T24" fmla="*/ 28 w 119"/>
                <a:gd name="T25" fmla="*/ 108 h 135"/>
                <a:gd name="T26" fmla="*/ 17 w 119"/>
                <a:gd name="T27" fmla="*/ 97 h 135"/>
                <a:gd name="T28" fmla="*/ 17 w 119"/>
                <a:gd name="T29" fmla="*/ 69 h 135"/>
                <a:gd name="T30" fmla="*/ 0 w 119"/>
                <a:gd name="T31" fmla="*/ 6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35">
                  <a:moveTo>
                    <a:pt x="0" y="69"/>
                  </a:moveTo>
                  <a:cubicBezTo>
                    <a:pt x="17" y="29"/>
                    <a:pt x="17" y="29"/>
                    <a:pt x="17" y="29"/>
                  </a:cubicBezTo>
                  <a:cubicBezTo>
                    <a:pt x="17" y="11"/>
                    <a:pt x="17" y="11"/>
                    <a:pt x="17" y="11"/>
                  </a:cubicBezTo>
                  <a:cubicBezTo>
                    <a:pt x="17" y="5"/>
                    <a:pt x="22" y="0"/>
                    <a:pt x="28" y="0"/>
                  </a:cubicBezTo>
                  <a:cubicBezTo>
                    <a:pt x="108" y="0"/>
                    <a:pt x="108" y="0"/>
                    <a:pt x="108" y="0"/>
                  </a:cubicBezTo>
                  <a:cubicBezTo>
                    <a:pt x="114" y="0"/>
                    <a:pt x="119" y="5"/>
                    <a:pt x="119" y="11"/>
                  </a:cubicBezTo>
                  <a:cubicBezTo>
                    <a:pt x="119" y="97"/>
                    <a:pt x="119" y="97"/>
                    <a:pt x="119" y="97"/>
                  </a:cubicBezTo>
                  <a:cubicBezTo>
                    <a:pt x="119" y="103"/>
                    <a:pt x="114" y="108"/>
                    <a:pt x="108" y="108"/>
                  </a:cubicBezTo>
                  <a:cubicBezTo>
                    <a:pt x="105" y="108"/>
                    <a:pt x="105" y="108"/>
                    <a:pt x="105" y="108"/>
                  </a:cubicBezTo>
                  <a:cubicBezTo>
                    <a:pt x="103" y="108"/>
                    <a:pt x="103" y="108"/>
                    <a:pt x="103" y="108"/>
                  </a:cubicBezTo>
                  <a:cubicBezTo>
                    <a:pt x="77" y="135"/>
                    <a:pt x="77" y="135"/>
                    <a:pt x="77" y="135"/>
                  </a:cubicBezTo>
                  <a:cubicBezTo>
                    <a:pt x="77" y="108"/>
                    <a:pt x="77" y="108"/>
                    <a:pt x="77" y="108"/>
                  </a:cubicBezTo>
                  <a:cubicBezTo>
                    <a:pt x="28" y="108"/>
                    <a:pt x="28" y="108"/>
                    <a:pt x="28" y="108"/>
                  </a:cubicBezTo>
                  <a:cubicBezTo>
                    <a:pt x="22" y="108"/>
                    <a:pt x="17" y="103"/>
                    <a:pt x="17" y="97"/>
                  </a:cubicBezTo>
                  <a:cubicBezTo>
                    <a:pt x="17" y="69"/>
                    <a:pt x="17" y="69"/>
                    <a:pt x="17" y="69"/>
                  </a:cubicBezTo>
                  <a:lnTo>
                    <a:pt x="0" y="69"/>
                  </a:lnTo>
                  <a:close/>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79" name="Line 148">
              <a:extLst>
                <a:ext uri="{FF2B5EF4-FFF2-40B4-BE49-F238E27FC236}">
                  <a16:creationId xmlns:a16="http://schemas.microsoft.com/office/drawing/2014/main" id="{FF1022C1-65D5-4AA5-9F39-DDF0AE1AE128}"/>
                </a:ext>
              </a:extLst>
            </p:cNvPr>
            <p:cNvSpPr>
              <a:spLocks noChangeShapeType="1"/>
            </p:cNvSpPr>
            <p:nvPr/>
          </p:nvSpPr>
          <p:spPr bwMode="auto">
            <a:xfrm>
              <a:off x="3917" y="2229"/>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0" name="Line 149">
              <a:extLst>
                <a:ext uri="{FF2B5EF4-FFF2-40B4-BE49-F238E27FC236}">
                  <a16:creationId xmlns:a16="http://schemas.microsoft.com/office/drawing/2014/main" id="{6A2D80DF-EE09-478E-A13A-897D327465D9}"/>
                </a:ext>
              </a:extLst>
            </p:cNvPr>
            <p:cNvSpPr>
              <a:spLocks noChangeShapeType="1"/>
            </p:cNvSpPr>
            <p:nvPr/>
          </p:nvSpPr>
          <p:spPr bwMode="auto">
            <a:xfrm>
              <a:off x="3917" y="2229"/>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1" name="Freeform 150">
              <a:extLst>
                <a:ext uri="{FF2B5EF4-FFF2-40B4-BE49-F238E27FC236}">
                  <a16:creationId xmlns:a16="http://schemas.microsoft.com/office/drawing/2014/main" id="{FBD00D38-A5D8-4668-BE5A-5076D7A1A05B}"/>
                </a:ext>
              </a:extLst>
            </p:cNvPr>
            <p:cNvSpPr>
              <a:spLocks/>
            </p:cNvSpPr>
            <p:nvPr/>
          </p:nvSpPr>
          <p:spPr bwMode="auto">
            <a:xfrm>
              <a:off x="3917" y="2229"/>
              <a:ext cx="56" cy="19"/>
            </a:xfrm>
            <a:custGeom>
              <a:avLst/>
              <a:gdLst>
                <a:gd name="T0" fmla="*/ 51 w 56"/>
                <a:gd name="T1" fmla="*/ 2 h 19"/>
                <a:gd name="T2" fmla="*/ 0 w 56"/>
                <a:gd name="T3" fmla="*/ 19 h 19"/>
                <a:gd name="T4" fmla="*/ 0 w 56"/>
                <a:gd name="T5" fmla="*/ 0 h 19"/>
                <a:gd name="T6" fmla="*/ 56 w 56"/>
                <a:gd name="T7" fmla="*/ 0 h 19"/>
                <a:gd name="T8" fmla="*/ 51 w 56"/>
                <a:gd name="T9" fmla="*/ 2 h 19"/>
              </a:gdLst>
              <a:ahLst/>
              <a:cxnLst>
                <a:cxn ang="0">
                  <a:pos x="T0" y="T1"/>
                </a:cxn>
                <a:cxn ang="0">
                  <a:pos x="T2" y="T3"/>
                </a:cxn>
                <a:cxn ang="0">
                  <a:pos x="T4" y="T5"/>
                </a:cxn>
                <a:cxn ang="0">
                  <a:pos x="T6" y="T7"/>
                </a:cxn>
                <a:cxn ang="0">
                  <a:pos x="T8" y="T9"/>
                </a:cxn>
              </a:cxnLst>
              <a:rect l="0" t="0" r="r" b="b"/>
              <a:pathLst>
                <a:path w="56" h="19">
                  <a:moveTo>
                    <a:pt x="51" y="2"/>
                  </a:moveTo>
                  <a:lnTo>
                    <a:pt x="0" y="19"/>
                  </a:lnTo>
                  <a:lnTo>
                    <a:pt x="0" y="0"/>
                  </a:lnTo>
                  <a:lnTo>
                    <a:pt x="56" y="0"/>
                  </a:lnTo>
                  <a:lnTo>
                    <a:pt x="51" y="2"/>
                  </a:ln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2" name="Freeform 151">
              <a:extLst>
                <a:ext uri="{FF2B5EF4-FFF2-40B4-BE49-F238E27FC236}">
                  <a16:creationId xmlns:a16="http://schemas.microsoft.com/office/drawing/2014/main" id="{54B23F98-3540-4E9D-9C12-318FA0EE8D9A}"/>
                </a:ext>
              </a:extLst>
            </p:cNvPr>
            <p:cNvSpPr>
              <a:spLocks/>
            </p:cNvSpPr>
            <p:nvPr/>
          </p:nvSpPr>
          <p:spPr bwMode="auto">
            <a:xfrm>
              <a:off x="3654" y="2058"/>
              <a:ext cx="210" cy="278"/>
            </a:xfrm>
            <a:custGeom>
              <a:avLst/>
              <a:gdLst>
                <a:gd name="T0" fmla="*/ 68 w 102"/>
                <a:gd name="T1" fmla="*/ 0 h 135"/>
                <a:gd name="T2" fmla="*/ 10 w 102"/>
                <a:gd name="T3" fmla="*/ 0 h 135"/>
                <a:gd name="T4" fmla="*/ 0 w 102"/>
                <a:gd name="T5" fmla="*/ 11 h 135"/>
                <a:gd name="T6" fmla="*/ 0 w 102"/>
                <a:gd name="T7" fmla="*/ 97 h 135"/>
                <a:gd name="T8" fmla="*/ 10 w 102"/>
                <a:gd name="T9" fmla="*/ 108 h 135"/>
                <a:gd name="T10" fmla="*/ 13 w 102"/>
                <a:gd name="T11" fmla="*/ 108 h 135"/>
                <a:gd name="T12" fmla="*/ 15 w 102"/>
                <a:gd name="T13" fmla="*/ 108 h 135"/>
                <a:gd name="T14" fmla="*/ 42 w 102"/>
                <a:gd name="T15" fmla="*/ 135 h 135"/>
                <a:gd name="T16" fmla="*/ 42 w 102"/>
                <a:gd name="T17" fmla="*/ 108 h 135"/>
                <a:gd name="T18" fmla="*/ 91 w 102"/>
                <a:gd name="T19" fmla="*/ 108 h 135"/>
                <a:gd name="T20" fmla="*/ 102 w 102"/>
                <a:gd name="T21" fmla="*/ 97 h 135"/>
                <a:gd name="T22" fmla="*/ 102 w 102"/>
                <a:gd name="T23" fmla="*/ 83 h 135"/>
                <a:gd name="T24" fmla="*/ 68 w 102"/>
                <a:gd name="T2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35">
                  <a:moveTo>
                    <a:pt x="68" y="0"/>
                  </a:moveTo>
                  <a:cubicBezTo>
                    <a:pt x="10" y="0"/>
                    <a:pt x="10" y="0"/>
                    <a:pt x="10" y="0"/>
                  </a:cubicBezTo>
                  <a:cubicBezTo>
                    <a:pt x="4" y="0"/>
                    <a:pt x="0" y="5"/>
                    <a:pt x="0" y="11"/>
                  </a:cubicBezTo>
                  <a:cubicBezTo>
                    <a:pt x="0" y="97"/>
                    <a:pt x="0" y="97"/>
                    <a:pt x="0" y="97"/>
                  </a:cubicBezTo>
                  <a:cubicBezTo>
                    <a:pt x="0" y="103"/>
                    <a:pt x="4" y="108"/>
                    <a:pt x="10" y="108"/>
                  </a:cubicBezTo>
                  <a:cubicBezTo>
                    <a:pt x="13" y="108"/>
                    <a:pt x="13" y="108"/>
                    <a:pt x="13" y="108"/>
                  </a:cubicBezTo>
                  <a:cubicBezTo>
                    <a:pt x="15" y="108"/>
                    <a:pt x="15" y="108"/>
                    <a:pt x="15" y="108"/>
                  </a:cubicBezTo>
                  <a:cubicBezTo>
                    <a:pt x="42" y="135"/>
                    <a:pt x="42" y="135"/>
                    <a:pt x="42" y="135"/>
                  </a:cubicBezTo>
                  <a:cubicBezTo>
                    <a:pt x="42" y="108"/>
                    <a:pt x="42" y="108"/>
                    <a:pt x="42" y="108"/>
                  </a:cubicBezTo>
                  <a:cubicBezTo>
                    <a:pt x="91" y="108"/>
                    <a:pt x="91" y="108"/>
                    <a:pt x="91" y="108"/>
                  </a:cubicBezTo>
                  <a:cubicBezTo>
                    <a:pt x="97" y="108"/>
                    <a:pt x="102" y="103"/>
                    <a:pt x="102" y="97"/>
                  </a:cubicBezTo>
                  <a:cubicBezTo>
                    <a:pt x="102" y="83"/>
                    <a:pt x="102" y="83"/>
                    <a:pt x="102" y="83"/>
                  </a:cubicBezTo>
                  <a:lnTo>
                    <a:pt x="68" y="0"/>
                  </a:lnTo>
                  <a:close/>
                </a:path>
              </a:pathLst>
            </a:custGeom>
            <a:solidFill>
              <a:srgbClr val="75757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3" name="Freeform 152">
              <a:extLst>
                <a:ext uri="{FF2B5EF4-FFF2-40B4-BE49-F238E27FC236}">
                  <a16:creationId xmlns:a16="http://schemas.microsoft.com/office/drawing/2014/main" id="{05746A8E-6013-474C-BC21-8BC93120CF95}"/>
                </a:ext>
              </a:extLst>
            </p:cNvPr>
            <p:cNvSpPr>
              <a:spLocks/>
            </p:cNvSpPr>
            <p:nvPr/>
          </p:nvSpPr>
          <p:spPr bwMode="auto">
            <a:xfrm>
              <a:off x="3761" y="2058"/>
              <a:ext cx="135" cy="171"/>
            </a:xfrm>
            <a:custGeom>
              <a:avLst/>
              <a:gdLst>
                <a:gd name="T0" fmla="*/ 50 w 66"/>
                <a:gd name="T1" fmla="*/ 69 h 83"/>
                <a:gd name="T2" fmla="*/ 61 w 66"/>
                <a:gd name="T3" fmla="*/ 69 h 83"/>
                <a:gd name="T4" fmla="*/ 64 w 66"/>
                <a:gd name="T5" fmla="*/ 63 h 83"/>
                <a:gd name="T6" fmla="*/ 50 w 66"/>
                <a:gd name="T7" fmla="*/ 29 h 83"/>
                <a:gd name="T8" fmla="*/ 50 w 66"/>
                <a:gd name="T9" fmla="*/ 11 h 83"/>
                <a:gd name="T10" fmla="*/ 39 w 66"/>
                <a:gd name="T11" fmla="*/ 0 h 83"/>
                <a:gd name="T12" fmla="*/ 16 w 66"/>
                <a:gd name="T13" fmla="*/ 0 h 83"/>
                <a:gd name="T14" fmla="*/ 16 w 66"/>
                <a:gd name="T15" fmla="*/ 4 h 83"/>
                <a:gd name="T16" fmla="*/ 1 w 66"/>
                <a:gd name="T17" fmla="*/ 38 h 83"/>
                <a:gd name="T18" fmla="*/ 5 w 66"/>
                <a:gd name="T19" fmla="*/ 44 h 83"/>
                <a:gd name="T20" fmla="*/ 16 w 66"/>
                <a:gd name="T21" fmla="*/ 44 h 83"/>
                <a:gd name="T22" fmla="*/ 16 w 66"/>
                <a:gd name="T23" fmla="*/ 72 h 83"/>
                <a:gd name="T24" fmla="*/ 27 w 66"/>
                <a:gd name="T25" fmla="*/ 83 h 83"/>
                <a:gd name="T26" fmla="*/ 50 w 66"/>
                <a:gd name="T27" fmla="*/ 83 h 83"/>
                <a:gd name="T28" fmla="*/ 50 w 66"/>
                <a:gd name="T29"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83">
                  <a:moveTo>
                    <a:pt x="50" y="69"/>
                  </a:moveTo>
                  <a:cubicBezTo>
                    <a:pt x="61" y="69"/>
                    <a:pt x="61" y="69"/>
                    <a:pt x="61" y="69"/>
                  </a:cubicBezTo>
                  <a:cubicBezTo>
                    <a:pt x="64" y="69"/>
                    <a:pt x="66" y="66"/>
                    <a:pt x="64" y="63"/>
                  </a:cubicBezTo>
                  <a:cubicBezTo>
                    <a:pt x="50" y="29"/>
                    <a:pt x="50" y="29"/>
                    <a:pt x="50" y="29"/>
                  </a:cubicBezTo>
                  <a:cubicBezTo>
                    <a:pt x="50" y="11"/>
                    <a:pt x="50" y="11"/>
                    <a:pt x="50" y="11"/>
                  </a:cubicBezTo>
                  <a:cubicBezTo>
                    <a:pt x="50" y="5"/>
                    <a:pt x="45" y="0"/>
                    <a:pt x="39" y="0"/>
                  </a:cubicBezTo>
                  <a:cubicBezTo>
                    <a:pt x="16" y="0"/>
                    <a:pt x="16" y="0"/>
                    <a:pt x="16" y="0"/>
                  </a:cubicBezTo>
                  <a:cubicBezTo>
                    <a:pt x="16" y="4"/>
                    <a:pt x="16" y="4"/>
                    <a:pt x="16" y="4"/>
                  </a:cubicBezTo>
                  <a:cubicBezTo>
                    <a:pt x="1" y="38"/>
                    <a:pt x="1" y="38"/>
                    <a:pt x="1" y="38"/>
                  </a:cubicBezTo>
                  <a:cubicBezTo>
                    <a:pt x="0" y="41"/>
                    <a:pt x="2" y="44"/>
                    <a:pt x="5" y="44"/>
                  </a:cubicBezTo>
                  <a:cubicBezTo>
                    <a:pt x="16" y="44"/>
                    <a:pt x="16" y="44"/>
                    <a:pt x="16" y="44"/>
                  </a:cubicBezTo>
                  <a:cubicBezTo>
                    <a:pt x="16" y="72"/>
                    <a:pt x="16" y="72"/>
                    <a:pt x="16" y="72"/>
                  </a:cubicBezTo>
                  <a:cubicBezTo>
                    <a:pt x="16" y="78"/>
                    <a:pt x="21" y="83"/>
                    <a:pt x="27" y="83"/>
                  </a:cubicBezTo>
                  <a:cubicBezTo>
                    <a:pt x="50" y="83"/>
                    <a:pt x="50" y="83"/>
                    <a:pt x="50" y="83"/>
                  </a:cubicBezTo>
                  <a:lnTo>
                    <a:pt x="50" y="69"/>
                  </a:lnTo>
                  <a:close/>
                </a:path>
              </a:pathLst>
            </a:custGeom>
            <a:solidFill>
              <a:srgbClr val="30E5D0"/>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4" name="Line 153">
              <a:extLst>
                <a:ext uri="{FF2B5EF4-FFF2-40B4-BE49-F238E27FC236}">
                  <a16:creationId xmlns:a16="http://schemas.microsoft.com/office/drawing/2014/main" id="{179950EE-A7D1-46A7-A07F-E3460D1A4FDC}"/>
                </a:ext>
              </a:extLst>
            </p:cNvPr>
            <p:cNvSpPr>
              <a:spLocks noChangeShapeType="1"/>
            </p:cNvSpPr>
            <p:nvPr/>
          </p:nvSpPr>
          <p:spPr bwMode="auto">
            <a:xfrm>
              <a:off x="3740" y="2281"/>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5" name="Line 154">
              <a:extLst>
                <a:ext uri="{FF2B5EF4-FFF2-40B4-BE49-F238E27FC236}">
                  <a16:creationId xmlns:a16="http://schemas.microsoft.com/office/drawing/2014/main" id="{6CED9845-5ED4-41AF-A124-530108A2C27C}"/>
                </a:ext>
              </a:extLst>
            </p:cNvPr>
            <p:cNvSpPr>
              <a:spLocks noChangeShapeType="1"/>
            </p:cNvSpPr>
            <p:nvPr/>
          </p:nvSpPr>
          <p:spPr bwMode="auto">
            <a:xfrm>
              <a:off x="3740" y="2281"/>
              <a:ext cx="0" cy="0"/>
            </a:xfrm>
            <a:prstGeom prst="line">
              <a:avLst/>
            </a:prstGeom>
            <a:noFill/>
            <a:ln>
              <a:noFill/>
            </a:ln>
            <a:sp3d>
              <a:bevelB w="139700" prst="softRound"/>
            </a:sp3d>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86" name="Freeform 155">
              <a:extLst>
                <a:ext uri="{FF2B5EF4-FFF2-40B4-BE49-F238E27FC236}">
                  <a16:creationId xmlns:a16="http://schemas.microsoft.com/office/drawing/2014/main" id="{E5C97AC7-4DCA-4780-AB1C-BA52F8114E4C}"/>
                </a:ext>
              </a:extLst>
            </p:cNvPr>
            <p:cNvSpPr>
              <a:spLocks/>
            </p:cNvSpPr>
            <p:nvPr/>
          </p:nvSpPr>
          <p:spPr bwMode="auto">
            <a:xfrm>
              <a:off x="3685" y="2281"/>
              <a:ext cx="55" cy="20"/>
            </a:xfrm>
            <a:custGeom>
              <a:avLst/>
              <a:gdLst>
                <a:gd name="T0" fmla="*/ 4 w 55"/>
                <a:gd name="T1" fmla="*/ 4 h 20"/>
                <a:gd name="T2" fmla="*/ 55 w 55"/>
                <a:gd name="T3" fmla="*/ 20 h 20"/>
                <a:gd name="T4" fmla="*/ 55 w 55"/>
                <a:gd name="T5" fmla="*/ 0 h 20"/>
                <a:gd name="T6" fmla="*/ 0 w 55"/>
                <a:gd name="T7" fmla="*/ 0 h 20"/>
                <a:gd name="T8" fmla="*/ 4 w 55"/>
                <a:gd name="T9" fmla="*/ 4 h 20"/>
              </a:gdLst>
              <a:ahLst/>
              <a:cxnLst>
                <a:cxn ang="0">
                  <a:pos x="T0" y="T1"/>
                </a:cxn>
                <a:cxn ang="0">
                  <a:pos x="T2" y="T3"/>
                </a:cxn>
                <a:cxn ang="0">
                  <a:pos x="T4" y="T5"/>
                </a:cxn>
                <a:cxn ang="0">
                  <a:pos x="T6" y="T7"/>
                </a:cxn>
                <a:cxn ang="0">
                  <a:pos x="T8" y="T9"/>
                </a:cxn>
              </a:cxnLst>
              <a:rect l="0" t="0" r="r" b="b"/>
              <a:pathLst>
                <a:path w="55" h="20">
                  <a:moveTo>
                    <a:pt x="4" y="4"/>
                  </a:moveTo>
                  <a:lnTo>
                    <a:pt x="55" y="20"/>
                  </a:lnTo>
                  <a:lnTo>
                    <a:pt x="55" y="0"/>
                  </a:lnTo>
                  <a:lnTo>
                    <a:pt x="0" y="0"/>
                  </a:lnTo>
                  <a:lnTo>
                    <a:pt x="4" y="4"/>
                  </a:lnTo>
                  <a:close/>
                </a:path>
              </a:pathLst>
            </a:custGeom>
            <a:solidFill>
              <a:srgbClr val="3C3C41"/>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687" name="ICON EE">
            <a:extLst>
              <a:ext uri="{FF2B5EF4-FFF2-40B4-BE49-F238E27FC236}">
                <a16:creationId xmlns:a16="http://schemas.microsoft.com/office/drawing/2014/main" id="{99F6A364-14AF-48D2-A650-EE191415E698}"/>
              </a:ext>
            </a:extLst>
          </p:cNvPr>
          <p:cNvGrpSpPr>
            <a:grpSpLocks noChangeAspect="1"/>
          </p:cNvGrpSpPr>
          <p:nvPr/>
        </p:nvGrpSpPr>
        <p:grpSpPr bwMode="auto">
          <a:xfrm>
            <a:off x="5653475" y="-47950"/>
            <a:ext cx="892592" cy="895247"/>
            <a:chOff x="3504" y="1821"/>
            <a:chExt cx="672" cy="674"/>
          </a:xfrm>
          <a:scene3d>
            <a:camera prst="perspectiveFront">
              <a:rot lat="17099985" lon="0" rev="0"/>
            </a:camera>
            <a:lightRig rig="threePt" dir="t"/>
          </a:scene3d>
        </p:grpSpPr>
        <p:sp>
          <p:nvSpPr>
            <p:cNvPr id="688" name="Oval 102">
              <a:extLst>
                <a:ext uri="{FF2B5EF4-FFF2-40B4-BE49-F238E27FC236}">
                  <a16:creationId xmlns:a16="http://schemas.microsoft.com/office/drawing/2014/main" id="{2622A909-BB8E-4B0E-B979-421AE9E6AD7D}"/>
                </a:ext>
              </a:extLst>
            </p:cNvPr>
            <p:cNvSpPr>
              <a:spLocks noChangeArrowheads="1"/>
            </p:cNvSpPr>
            <p:nvPr/>
          </p:nvSpPr>
          <p:spPr bwMode="auto">
            <a:xfrm>
              <a:off x="3504" y="1821"/>
              <a:ext cx="672" cy="67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h="508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689" name="Freeform 103">
              <a:extLst>
                <a:ext uri="{FF2B5EF4-FFF2-40B4-BE49-F238E27FC236}">
                  <a16:creationId xmlns:a16="http://schemas.microsoft.com/office/drawing/2014/main" id="{C95F823B-1378-4315-B8A0-6B47E10109D6}"/>
                </a:ext>
              </a:extLst>
            </p:cNvPr>
            <p:cNvSpPr>
              <a:spLocks noEditPoints="1"/>
            </p:cNvSpPr>
            <p:nvPr/>
          </p:nvSpPr>
          <p:spPr bwMode="auto">
            <a:xfrm>
              <a:off x="3675" y="1996"/>
              <a:ext cx="310" cy="315"/>
            </a:xfrm>
            <a:custGeom>
              <a:avLst/>
              <a:gdLst>
                <a:gd name="T0" fmla="*/ 56 w 151"/>
                <a:gd name="T1" fmla="*/ 11 h 153"/>
                <a:gd name="T2" fmla="*/ 35 w 151"/>
                <a:gd name="T3" fmla="*/ 0 h 153"/>
                <a:gd name="T4" fmla="*/ 33 w 151"/>
                <a:gd name="T5" fmla="*/ 3 h 153"/>
                <a:gd name="T6" fmla="*/ 46 w 151"/>
                <a:gd name="T7" fmla="*/ 23 h 153"/>
                <a:gd name="T8" fmla="*/ 44 w 151"/>
                <a:gd name="T9" fmla="*/ 30 h 153"/>
                <a:gd name="T10" fmla="*/ 27 w 151"/>
                <a:gd name="T11" fmla="*/ 40 h 153"/>
                <a:gd name="T12" fmla="*/ 19 w 151"/>
                <a:gd name="T13" fmla="*/ 38 h 153"/>
                <a:gd name="T14" fmla="*/ 7 w 151"/>
                <a:gd name="T15" fmla="*/ 20 h 153"/>
                <a:gd name="T16" fmla="*/ 4 w 151"/>
                <a:gd name="T17" fmla="*/ 20 h 153"/>
                <a:gd name="T18" fmla="*/ 4 w 151"/>
                <a:gd name="T19" fmla="*/ 44 h 153"/>
                <a:gd name="T20" fmla="*/ 26 w 151"/>
                <a:gd name="T21" fmla="*/ 62 h 153"/>
                <a:gd name="T22" fmla="*/ 51 w 151"/>
                <a:gd name="T23" fmla="*/ 69 h 153"/>
                <a:gd name="T24" fmla="*/ 130 w 151"/>
                <a:gd name="T25" fmla="*/ 148 h 153"/>
                <a:gd name="T26" fmla="*/ 147 w 151"/>
                <a:gd name="T27" fmla="*/ 148 h 153"/>
                <a:gd name="T28" fmla="*/ 147 w 151"/>
                <a:gd name="T29" fmla="*/ 131 h 153"/>
                <a:gd name="T30" fmla="*/ 67 w 151"/>
                <a:gd name="T31" fmla="*/ 52 h 153"/>
                <a:gd name="T32" fmla="*/ 64 w 151"/>
                <a:gd name="T33" fmla="*/ 36 h 153"/>
                <a:gd name="T34" fmla="*/ 56 w 151"/>
                <a:gd name="T35" fmla="*/ 11 h 153"/>
                <a:gd name="T36" fmla="*/ 144 w 151"/>
                <a:gd name="T37" fmla="*/ 144 h 153"/>
                <a:gd name="T38" fmla="*/ 133 w 151"/>
                <a:gd name="T39" fmla="*/ 144 h 153"/>
                <a:gd name="T40" fmla="*/ 133 w 151"/>
                <a:gd name="T41" fmla="*/ 134 h 153"/>
                <a:gd name="T42" fmla="*/ 144 w 151"/>
                <a:gd name="T43" fmla="*/ 134 h 153"/>
                <a:gd name="T44" fmla="*/ 144 w 151"/>
                <a:gd name="T45"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1" h="153">
                  <a:moveTo>
                    <a:pt x="56" y="11"/>
                  </a:moveTo>
                  <a:cubicBezTo>
                    <a:pt x="48" y="5"/>
                    <a:pt x="43" y="3"/>
                    <a:pt x="35" y="0"/>
                  </a:cubicBezTo>
                  <a:cubicBezTo>
                    <a:pt x="34" y="0"/>
                    <a:pt x="32" y="2"/>
                    <a:pt x="33" y="3"/>
                  </a:cubicBezTo>
                  <a:cubicBezTo>
                    <a:pt x="46" y="23"/>
                    <a:pt x="46" y="23"/>
                    <a:pt x="46" y="23"/>
                  </a:cubicBezTo>
                  <a:cubicBezTo>
                    <a:pt x="46" y="23"/>
                    <a:pt x="47" y="27"/>
                    <a:pt x="44" y="30"/>
                  </a:cubicBezTo>
                  <a:cubicBezTo>
                    <a:pt x="40" y="32"/>
                    <a:pt x="27" y="40"/>
                    <a:pt x="27" y="40"/>
                  </a:cubicBezTo>
                  <a:cubicBezTo>
                    <a:pt x="27" y="40"/>
                    <a:pt x="23" y="43"/>
                    <a:pt x="19" y="38"/>
                  </a:cubicBezTo>
                  <a:cubicBezTo>
                    <a:pt x="16" y="33"/>
                    <a:pt x="10" y="24"/>
                    <a:pt x="7" y="20"/>
                  </a:cubicBezTo>
                  <a:cubicBezTo>
                    <a:pt x="7" y="19"/>
                    <a:pt x="5" y="19"/>
                    <a:pt x="4" y="20"/>
                  </a:cubicBezTo>
                  <a:cubicBezTo>
                    <a:pt x="2" y="24"/>
                    <a:pt x="0" y="33"/>
                    <a:pt x="4" y="44"/>
                  </a:cubicBezTo>
                  <a:cubicBezTo>
                    <a:pt x="9" y="60"/>
                    <a:pt x="19" y="63"/>
                    <a:pt x="26" y="62"/>
                  </a:cubicBezTo>
                  <a:cubicBezTo>
                    <a:pt x="34" y="62"/>
                    <a:pt x="40" y="58"/>
                    <a:pt x="51" y="69"/>
                  </a:cubicBezTo>
                  <a:cubicBezTo>
                    <a:pt x="130" y="148"/>
                    <a:pt x="130" y="148"/>
                    <a:pt x="130" y="148"/>
                  </a:cubicBezTo>
                  <a:cubicBezTo>
                    <a:pt x="134" y="153"/>
                    <a:pt x="142" y="153"/>
                    <a:pt x="147" y="148"/>
                  </a:cubicBezTo>
                  <a:cubicBezTo>
                    <a:pt x="151" y="143"/>
                    <a:pt x="151" y="136"/>
                    <a:pt x="147" y="131"/>
                  </a:cubicBezTo>
                  <a:cubicBezTo>
                    <a:pt x="67" y="52"/>
                    <a:pt x="67" y="52"/>
                    <a:pt x="67" y="52"/>
                  </a:cubicBezTo>
                  <a:cubicBezTo>
                    <a:pt x="67" y="52"/>
                    <a:pt x="60" y="44"/>
                    <a:pt x="64" y="36"/>
                  </a:cubicBezTo>
                  <a:cubicBezTo>
                    <a:pt x="67" y="28"/>
                    <a:pt x="65" y="18"/>
                    <a:pt x="56" y="11"/>
                  </a:cubicBezTo>
                  <a:moveTo>
                    <a:pt x="144" y="144"/>
                  </a:moveTo>
                  <a:cubicBezTo>
                    <a:pt x="141" y="147"/>
                    <a:pt x="136" y="147"/>
                    <a:pt x="133" y="144"/>
                  </a:cubicBezTo>
                  <a:cubicBezTo>
                    <a:pt x="130" y="141"/>
                    <a:pt x="130" y="137"/>
                    <a:pt x="133" y="134"/>
                  </a:cubicBezTo>
                  <a:cubicBezTo>
                    <a:pt x="136" y="131"/>
                    <a:pt x="141" y="131"/>
                    <a:pt x="144" y="134"/>
                  </a:cubicBezTo>
                  <a:cubicBezTo>
                    <a:pt x="147" y="137"/>
                    <a:pt x="147" y="141"/>
                    <a:pt x="144" y="144"/>
                  </a:cubicBezTo>
                </a:path>
              </a:pathLst>
            </a:custGeom>
            <a:solidFill>
              <a:srgbClr val="75757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0" name="Freeform 104">
              <a:extLst>
                <a:ext uri="{FF2B5EF4-FFF2-40B4-BE49-F238E27FC236}">
                  <a16:creationId xmlns:a16="http://schemas.microsoft.com/office/drawing/2014/main" id="{25AD49A3-EA7F-462F-9D69-54D2E3B01C5A}"/>
                </a:ext>
              </a:extLst>
            </p:cNvPr>
            <p:cNvSpPr>
              <a:spLocks/>
            </p:cNvSpPr>
            <p:nvPr/>
          </p:nvSpPr>
          <p:spPr bwMode="auto">
            <a:xfrm>
              <a:off x="3788" y="2112"/>
              <a:ext cx="156" cy="158"/>
            </a:xfrm>
            <a:custGeom>
              <a:avLst/>
              <a:gdLst>
                <a:gd name="T0" fmla="*/ 74 w 76"/>
                <a:gd name="T1" fmla="*/ 74 h 77"/>
                <a:gd name="T2" fmla="*/ 65 w 76"/>
                <a:gd name="T3" fmla="*/ 74 h 77"/>
                <a:gd name="T4" fmla="*/ 2 w 76"/>
                <a:gd name="T5" fmla="*/ 12 h 77"/>
                <a:gd name="T6" fmla="*/ 2 w 76"/>
                <a:gd name="T7" fmla="*/ 3 h 77"/>
                <a:gd name="T8" fmla="*/ 12 w 76"/>
                <a:gd name="T9" fmla="*/ 3 h 77"/>
                <a:gd name="T10" fmla="*/ 74 w 76"/>
                <a:gd name="T11" fmla="*/ 65 h 77"/>
                <a:gd name="T12" fmla="*/ 74 w 76"/>
                <a:gd name="T13" fmla="*/ 74 h 77"/>
              </a:gdLst>
              <a:ahLst/>
              <a:cxnLst>
                <a:cxn ang="0">
                  <a:pos x="T0" y="T1"/>
                </a:cxn>
                <a:cxn ang="0">
                  <a:pos x="T2" y="T3"/>
                </a:cxn>
                <a:cxn ang="0">
                  <a:pos x="T4" y="T5"/>
                </a:cxn>
                <a:cxn ang="0">
                  <a:pos x="T6" y="T7"/>
                </a:cxn>
                <a:cxn ang="0">
                  <a:pos x="T8" y="T9"/>
                </a:cxn>
                <a:cxn ang="0">
                  <a:pos x="T10" y="T11"/>
                </a:cxn>
                <a:cxn ang="0">
                  <a:pos x="T12" y="T13"/>
                </a:cxn>
              </a:cxnLst>
              <a:rect l="0" t="0" r="r" b="b"/>
              <a:pathLst>
                <a:path w="76" h="77">
                  <a:moveTo>
                    <a:pt x="74" y="74"/>
                  </a:moveTo>
                  <a:cubicBezTo>
                    <a:pt x="71" y="77"/>
                    <a:pt x="67" y="77"/>
                    <a:pt x="65" y="74"/>
                  </a:cubicBezTo>
                  <a:cubicBezTo>
                    <a:pt x="2" y="12"/>
                    <a:pt x="2" y="12"/>
                    <a:pt x="2" y="12"/>
                  </a:cubicBezTo>
                  <a:cubicBezTo>
                    <a:pt x="0" y="9"/>
                    <a:pt x="0" y="5"/>
                    <a:pt x="2" y="3"/>
                  </a:cubicBezTo>
                  <a:cubicBezTo>
                    <a:pt x="5" y="0"/>
                    <a:pt x="9" y="0"/>
                    <a:pt x="12" y="3"/>
                  </a:cubicBezTo>
                  <a:cubicBezTo>
                    <a:pt x="74" y="65"/>
                    <a:pt x="74" y="65"/>
                    <a:pt x="74" y="65"/>
                  </a:cubicBezTo>
                  <a:cubicBezTo>
                    <a:pt x="76" y="67"/>
                    <a:pt x="76" y="72"/>
                    <a:pt x="74" y="74"/>
                  </a:cubicBezTo>
                </a:path>
              </a:pathLst>
            </a:custGeom>
            <a:solidFill>
              <a:srgbClr val="F2F2F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1" name="Freeform 105">
              <a:extLst>
                <a:ext uri="{FF2B5EF4-FFF2-40B4-BE49-F238E27FC236}">
                  <a16:creationId xmlns:a16="http://schemas.microsoft.com/office/drawing/2014/main" id="{595FF40A-AA7E-4869-82AC-DE46C1F2C21D}"/>
                </a:ext>
              </a:extLst>
            </p:cNvPr>
            <p:cNvSpPr>
              <a:spLocks/>
            </p:cNvSpPr>
            <p:nvPr/>
          </p:nvSpPr>
          <p:spPr bwMode="auto">
            <a:xfrm>
              <a:off x="3788" y="2116"/>
              <a:ext cx="154" cy="154"/>
            </a:xfrm>
            <a:custGeom>
              <a:avLst/>
              <a:gdLst>
                <a:gd name="T0" fmla="*/ 67 w 75"/>
                <a:gd name="T1" fmla="*/ 70 h 75"/>
                <a:gd name="T2" fmla="*/ 4 w 75"/>
                <a:gd name="T3" fmla="*/ 8 h 75"/>
                <a:gd name="T4" fmla="*/ 3 w 75"/>
                <a:gd name="T5" fmla="*/ 0 h 75"/>
                <a:gd name="T6" fmla="*/ 2 w 75"/>
                <a:gd name="T7" fmla="*/ 1 h 75"/>
                <a:gd name="T8" fmla="*/ 2 w 75"/>
                <a:gd name="T9" fmla="*/ 10 h 75"/>
                <a:gd name="T10" fmla="*/ 65 w 75"/>
                <a:gd name="T11" fmla="*/ 72 h 75"/>
                <a:gd name="T12" fmla="*/ 74 w 75"/>
                <a:gd name="T13" fmla="*/ 72 h 75"/>
                <a:gd name="T14" fmla="*/ 75 w 75"/>
                <a:gd name="T15" fmla="*/ 71 h 75"/>
                <a:gd name="T16" fmla="*/ 67 w 75"/>
                <a:gd name="T17" fmla="*/ 7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67" y="70"/>
                  </a:moveTo>
                  <a:cubicBezTo>
                    <a:pt x="4" y="8"/>
                    <a:pt x="4" y="8"/>
                    <a:pt x="4" y="8"/>
                  </a:cubicBezTo>
                  <a:cubicBezTo>
                    <a:pt x="2" y="6"/>
                    <a:pt x="2" y="2"/>
                    <a:pt x="3" y="0"/>
                  </a:cubicBezTo>
                  <a:cubicBezTo>
                    <a:pt x="3" y="0"/>
                    <a:pt x="3" y="0"/>
                    <a:pt x="2" y="1"/>
                  </a:cubicBezTo>
                  <a:cubicBezTo>
                    <a:pt x="0" y="3"/>
                    <a:pt x="0" y="7"/>
                    <a:pt x="2" y="10"/>
                  </a:cubicBezTo>
                  <a:cubicBezTo>
                    <a:pt x="65" y="72"/>
                    <a:pt x="65" y="72"/>
                    <a:pt x="65" y="72"/>
                  </a:cubicBezTo>
                  <a:cubicBezTo>
                    <a:pt x="67" y="75"/>
                    <a:pt x="71" y="75"/>
                    <a:pt x="74" y="72"/>
                  </a:cubicBezTo>
                  <a:cubicBezTo>
                    <a:pt x="74" y="72"/>
                    <a:pt x="75" y="71"/>
                    <a:pt x="75" y="71"/>
                  </a:cubicBezTo>
                  <a:cubicBezTo>
                    <a:pt x="72" y="73"/>
                    <a:pt x="69" y="72"/>
                    <a:pt x="67" y="70"/>
                  </a:cubicBezTo>
                </a:path>
              </a:pathLst>
            </a:custGeom>
            <a:solidFill>
              <a:srgbClr val="D9D9D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2" name="Freeform 106">
              <a:extLst>
                <a:ext uri="{FF2B5EF4-FFF2-40B4-BE49-F238E27FC236}">
                  <a16:creationId xmlns:a16="http://schemas.microsoft.com/office/drawing/2014/main" id="{5039BC59-3E35-433B-BC06-10EFFC50F9EA}"/>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close/>
                  <a:moveTo>
                    <a:pt x="27" y="0"/>
                  </a:moveTo>
                  <a:lnTo>
                    <a:pt x="27" y="0"/>
                  </a:lnTo>
                  <a:lnTo>
                    <a:pt x="72" y="46"/>
                  </a:lnTo>
                  <a:lnTo>
                    <a:pt x="72" y="46"/>
                  </a:lnTo>
                  <a:lnTo>
                    <a:pt x="27" y="0"/>
                  </a:lnTo>
                  <a:close/>
                </a:path>
              </a:pathLst>
            </a:custGeom>
            <a:solidFill>
              <a:srgbClr val="0066B4"/>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3" name="Freeform 107">
              <a:extLst>
                <a:ext uri="{FF2B5EF4-FFF2-40B4-BE49-F238E27FC236}">
                  <a16:creationId xmlns:a16="http://schemas.microsoft.com/office/drawing/2014/main" id="{91F521B0-2BF3-4266-A7F8-FCADF9ABE0A8}"/>
                </a:ext>
              </a:extLst>
            </p:cNvPr>
            <p:cNvSpPr>
              <a:spLocks noEditPoints="1"/>
            </p:cNvSpPr>
            <p:nvPr/>
          </p:nvSpPr>
          <p:spPr bwMode="auto">
            <a:xfrm>
              <a:off x="3820" y="2138"/>
              <a:ext cx="72" cy="72"/>
            </a:xfrm>
            <a:custGeom>
              <a:avLst/>
              <a:gdLst>
                <a:gd name="T0" fmla="*/ 0 w 72"/>
                <a:gd name="T1" fmla="*/ 42 h 72"/>
                <a:gd name="T2" fmla="*/ 0 w 72"/>
                <a:gd name="T3" fmla="*/ 42 h 72"/>
                <a:gd name="T4" fmla="*/ 31 w 72"/>
                <a:gd name="T5" fmla="*/ 72 h 72"/>
                <a:gd name="T6" fmla="*/ 0 w 72"/>
                <a:gd name="T7" fmla="*/ 42 h 72"/>
                <a:gd name="T8" fmla="*/ 27 w 72"/>
                <a:gd name="T9" fmla="*/ 0 h 72"/>
                <a:gd name="T10" fmla="*/ 27 w 72"/>
                <a:gd name="T11" fmla="*/ 0 h 72"/>
                <a:gd name="T12" fmla="*/ 72 w 72"/>
                <a:gd name="T13" fmla="*/ 46 h 72"/>
                <a:gd name="T14" fmla="*/ 72 w 72"/>
                <a:gd name="T15" fmla="*/ 46 h 72"/>
                <a:gd name="T16" fmla="*/ 27 w 72"/>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0" y="42"/>
                  </a:moveTo>
                  <a:lnTo>
                    <a:pt x="0" y="42"/>
                  </a:lnTo>
                  <a:lnTo>
                    <a:pt x="31" y="72"/>
                  </a:lnTo>
                  <a:lnTo>
                    <a:pt x="0" y="42"/>
                  </a:lnTo>
                  <a:moveTo>
                    <a:pt x="27" y="0"/>
                  </a:moveTo>
                  <a:lnTo>
                    <a:pt x="27" y="0"/>
                  </a:lnTo>
                  <a:lnTo>
                    <a:pt x="72" y="46"/>
                  </a:lnTo>
                  <a:lnTo>
                    <a:pt x="72" y="46"/>
                  </a:lnTo>
                  <a:lnTo>
                    <a:pt x="27" y="0"/>
                  </a:lnTo>
                </a:path>
              </a:pathLst>
            </a:custGeom>
            <a:noFill/>
            <a:ln>
              <a:noFill/>
            </a:ln>
            <a:sp3d>
              <a:bevelB w="1397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4" name="Freeform 108">
              <a:extLst>
                <a:ext uri="{FF2B5EF4-FFF2-40B4-BE49-F238E27FC236}">
                  <a16:creationId xmlns:a16="http://schemas.microsoft.com/office/drawing/2014/main" id="{84168730-0AF0-4197-9D75-08844D16E5D1}"/>
                </a:ext>
              </a:extLst>
            </p:cNvPr>
            <p:cNvSpPr>
              <a:spLocks noEditPoints="1"/>
            </p:cNvSpPr>
            <p:nvPr/>
          </p:nvSpPr>
          <p:spPr bwMode="auto">
            <a:xfrm>
              <a:off x="3820" y="2138"/>
              <a:ext cx="72" cy="72"/>
            </a:xfrm>
            <a:custGeom>
              <a:avLst/>
              <a:gdLst>
                <a:gd name="T0" fmla="*/ 4 w 35"/>
                <a:gd name="T1" fmla="*/ 16 h 35"/>
                <a:gd name="T2" fmla="*/ 4 w 35"/>
                <a:gd name="T3" fmla="*/ 16 h 35"/>
                <a:gd name="T4" fmla="*/ 0 w 35"/>
                <a:gd name="T5" fmla="*/ 20 h 35"/>
                <a:gd name="T6" fmla="*/ 15 w 35"/>
                <a:gd name="T7" fmla="*/ 35 h 35"/>
                <a:gd name="T8" fmla="*/ 17 w 35"/>
                <a:gd name="T9" fmla="*/ 33 h 35"/>
                <a:gd name="T10" fmla="*/ 19 w 35"/>
                <a:gd name="T11" fmla="*/ 31 h 35"/>
                <a:gd name="T12" fmla="*/ 19 w 35"/>
                <a:gd name="T13" fmla="*/ 31 h 35"/>
                <a:gd name="T14" fmla="*/ 4 w 35"/>
                <a:gd name="T15" fmla="*/ 16 h 35"/>
                <a:gd name="T16" fmla="*/ 13 w 35"/>
                <a:gd name="T17" fmla="*/ 0 h 35"/>
                <a:gd name="T18" fmla="*/ 13 w 35"/>
                <a:gd name="T19" fmla="*/ 0 h 35"/>
                <a:gd name="T20" fmla="*/ 9 w 35"/>
                <a:gd name="T21" fmla="*/ 3 h 35"/>
                <a:gd name="T22" fmla="*/ 31 w 35"/>
                <a:gd name="T23" fmla="*/ 26 h 35"/>
                <a:gd name="T24" fmla="*/ 31 w 35"/>
                <a:gd name="T25" fmla="*/ 26 h 35"/>
                <a:gd name="T26" fmla="*/ 35 w 35"/>
                <a:gd name="T27" fmla="*/ 22 h 35"/>
                <a:gd name="T28" fmla="*/ 35 w 35"/>
                <a:gd name="T29" fmla="*/ 22 h 35"/>
                <a:gd name="T30" fmla="*/ 13 w 35"/>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5">
                  <a:moveTo>
                    <a:pt x="4" y="16"/>
                  </a:moveTo>
                  <a:cubicBezTo>
                    <a:pt x="4" y="16"/>
                    <a:pt x="4" y="16"/>
                    <a:pt x="4" y="16"/>
                  </a:cubicBezTo>
                  <a:cubicBezTo>
                    <a:pt x="2" y="18"/>
                    <a:pt x="1" y="19"/>
                    <a:pt x="0" y="20"/>
                  </a:cubicBezTo>
                  <a:cubicBezTo>
                    <a:pt x="15" y="35"/>
                    <a:pt x="15" y="35"/>
                    <a:pt x="15" y="35"/>
                  </a:cubicBezTo>
                  <a:cubicBezTo>
                    <a:pt x="16" y="34"/>
                    <a:pt x="17" y="34"/>
                    <a:pt x="17" y="33"/>
                  </a:cubicBezTo>
                  <a:cubicBezTo>
                    <a:pt x="18" y="32"/>
                    <a:pt x="18" y="32"/>
                    <a:pt x="19" y="31"/>
                  </a:cubicBezTo>
                  <a:cubicBezTo>
                    <a:pt x="19" y="31"/>
                    <a:pt x="19" y="31"/>
                    <a:pt x="19" y="31"/>
                  </a:cubicBezTo>
                  <a:cubicBezTo>
                    <a:pt x="4" y="16"/>
                    <a:pt x="4" y="16"/>
                    <a:pt x="4" y="16"/>
                  </a:cubicBezTo>
                  <a:moveTo>
                    <a:pt x="13" y="0"/>
                  </a:moveTo>
                  <a:cubicBezTo>
                    <a:pt x="13" y="0"/>
                    <a:pt x="13" y="0"/>
                    <a:pt x="13" y="0"/>
                  </a:cubicBezTo>
                  <a:cubicBezTo>
                    <a:pt x="9" y="3"/>
                    <a:pt x="9" y="3"/>
                    <a:pt x="9" y="3"/>
                  </a:cubicBezTo>
                  <a:cubicBezTo>
                    <a:pt x="31" y="26"/>
                    <a:pt x="31" y="26"/>
                    <a:pt x="31" y="26"/>
                  </a:cubicBezTo>
                  <a:cubicBezTo>
                    <a:pt x="31" y="26"/>
                    <a:pt x="31" y="26"/>
                    <a:pt x="31" y="26"/>
                  </a:cubicBezTo>
                  <a:cubicBezTo>
                    <a:pt x="35" y="22"/>
                    <a:pt x="35" y="22"/>
                    <a:pt x="35" y="22"/>
                  </a:cubicBezTo>
                  <a:cubicBezTo>
                    <a:pt x="35" y="22"/>
                    <a:pt x="35" y="22"/>
                    <a:pt x="35" y="22"/>
                  </a:cubicBezTo>
                  <a:cubicBezTo>
                    <a:pt x="13" y="0"/>
                    <a:pt x="13" y="0"/>
                    <a:pt x="13" y="0"/>
                  </a:cubicBezTo>
                </a:path>
              </a:pathLst>
            </a:custGeom>
            <a:solidFill>
              <a:srgbClr val="D9D9D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5" name="Freeform 109">
              <a:extLst>
                <a:ext uri="{FF2B5EF4-FFF2-40B4-BE49-F238E27FC236}">
                  <a16:creationId xmlns:a16="http://schemas.microsoft.com/office/drawing/2014/main" id="{A0E7AE05-D39F-414C-90B6-673136853ED9}"/>
                </a:ext>
              </a:extLst>
            </p:cNvPr>
            <p:cNvSpPr>
              <a:spLocks/>
            </p:cNvSpPr>
            <p:nvPr/>
          </p:nvSpPr>
          <p:spPr bwMode="auto">
            <a:xfrm>
              <a:off x="3827" y="2145"/>
              <a:ext cx="57" cy="59"/>
            </a:xfrm>
            <a:custGeom>
              <a:avLst/>
              <a:gdLst>
                <a:gd name="T0" fmla="*/ 6 w 28"/>
                <a:gd name="T1" fmla="*/ 0 h 29"/>
                <a:gd name="T2" fmla="*/ 6 w 28"/>
                <a:gd name="T3" fmla="*/ 0 h 29"/>
                <a:gd name="T4" fmla="*/ 1 w 28"/>
                <a:gd name="T5" fmla="*/ 5 h 29"/>
                <a:gd name="T6" fmla="*/ 0 w 28"/>
                <a:gd name="T7" fmla="*/ 8 h 29"/>
                <a:gd name="T8" fmla="*/ 21 w 28"/>
                <a:gd name="T9" fmla="*/ 29 h 29"/>
                <a:gd name="T10" fmla="*/ 23 w 28"/>
                <a:gd name="T11" fmla="*/ 28 h 29"/>
                <a:gd name="T12" fmla="*/ 28 w 28"/>
                <a:gd name="T13" fmla="*/ 23 h 29"/>
                <a:gd name="T14" fmla="*/ 6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6" y="0"/>
                  </a:moveTo>
                  <a:cubicBezTo>
                    <a:pt x="6" y="0"/>
                    <a:pt x="6" y="0"/>
                    <a:pt x="6" y="0"/>
                  </a:cubicBezTo>
                  <a:cubicBezTo>
                    <a:pt x="1" y="5"/>
                    <a:pt x="1" y="5"/>
                    <a:pt x="1" y="5"/>
                  </a:cubicBezTo>
                  <a:cubicBezTo>
                    <a:pt x="1" y="6"/>
                    <a:pt x="0" y="7"/>
                    <a:pt x="0" y="8"/>
                  </a:cubicBezTo>
                  <a:cubicBezTo>
                    <a:pt x="21" y="29"/>
                    <a:pt x="21" y="29"/>
                    <a:pt x="21" y="29"/>
                  </a:cubicBezTo>
                  <a:cubicBezTo>
                    <a:pt x="22" y="29"/>
                    <a:pt x="23" y="28"/>
                    <a:pt x="23" y="28"/>
                  </a:cubicBezTo>
                  <a:cubicBezTo>
                    <a:pt x="28" y="23"/>
                    <a:pt x="28" y="23"/>
                    <a:pt x="28" y="23"/>
                  </a:cubicBezTo>
                  <a:cubicBezTo>
                    <a:pt x="6" y="0"/>
                    <a:pt x="6" y="0"/>
                    <a:pt x="6" y="0"/>
                  </a:cubicBezTo>
                </a:path>
              </a:pathLst>
            </a:custGeom>
            <a:solidFill>
              <a:srgbClr val="CECECE"/>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6" name="Freeform 110">
              <a:extLst>
                <a:ext uri="{FF2B5EF4-FFF2-40B4-BE49-F238E27FC236}">
                  <a16:creationId xmlns:a16="http://schemas.microsoft.com/office/drawing/2014/main" id="{416B6554-6ADF-492A-946D-67C09565BFC2}"/>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0 w 21"/>
                <a:gd name="T23" fmla="*/ 21 h 21"/>
                <a:gd name="T24" fmla="*/ 21 w 21"/>
                <a:gd name="T25" fmla="*/ 21 h 21"/>
                <a:gd name="T26" fmla="*/ 0 w 21"/>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0"/>
                    <a:pt x="19" y="21"/>
                    <a:pt x="20" y="21"/>
                  </a:cubicBezTo>
                  <a:cubicBezTo>
                    <a:pt x="20" y="21"/>
                    <a:pt x="20" y="21"/>
                    <a:pt x="21" y="21"/>
                  </a:cubicBezTo>
                  <a:cubicBezTo>
                    <a:pt x="0" y="0"/>
                    <a:pt x="0" y="0"/>
                    <a:pt x="0" y="0"/>
                  </a:cubicBezTo>
                </a:path>
              </a:pathLst>
            </a:custGeom>
            <a:solidFill>
              <a:srgbClr val="B9B9B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7" name="Freeform 111">
              <a:extLst>
                <a:ext uri="{FF2B5EF4-FFF2-40B4-BE49-F238E27FC236}">
                  <a16:creationId xmlns:a16="http://schemas.microsoft.com/office/drawing/2014/main" id="{D2EA5E75-5819-479D-B59C-D4D06800118C}"/>
                </a:ext>
              </a:extLst>
            </p:cNvPr>
            <p:cNvSpPr>
              <a:spLocks/>
            </p:cNvSpPr>
            <p:nvPr/>
          </p:nvSpPr>
          <p:spPr bwMode="auto">
            <a:xfrm>
              <a:off x="3827" y="2161"/>
              <a:ext cx="43" cy="43"/>
            </a:xfrm>
            <a:custGeom>
              <a:avLst/>
              <a:gdLst>
                <a:gd name="T0" fmla="*/ 0 w 21"/>
                <a:gd name="T1" fmla="*/ 0 h 21"/>
                <a:gd name="T2" fmla="*/ 0 w 21"/>
                <a:gd name="T3" fmla="*/ 2 h 21"/>
                <a:gd name="T4" fmla="*/ 0 w 21"/>
                <a:gd name="T5" fmla="*/ 2 h 21"/>
                <a:gd name="T6" fmla="*/ 0 w 21"/>
                <a:gd name="T7" fmla="*/ 2 h 21"/>
                <a:gd name="T8" fmla="*/ 0 w 21"/>
                <a:gd name="T9" fmla="*/ 3 h 21"/>
                <a:gd name="T10" fmla="*/ 1 w 21"/>
                <a:gd name="T11" fmla="*/ 4 h 21"/>
                <a:gd name="T12" fmla="*/ 2 w 21"/>
                <a:gd name="T13" fmla="*/ 4 h 21"/>
                <a:gd name="T14" fmla="*/ 1 w 21"/>
                <a:gd name="T15" fmla="*/ 5 h 21"/>
                <a:gd name="T16" fmla="*/ 16 w 21"/>
                <a:gd name="T17" fmla="*/ 20 h 21"/>
                <a:gd name="T18" fmla="*/ 17 w 21"/>
                <a:gd name="T19" fmla="*/ 19 h 21"/>
                <a:gd name="T20" fmla="*/ 17 w 21"/>
                <a:gd name="T21" fmla="*/ 20 h 21"/>
                <a:gd name="T22" fmla="*/ 21 w 21"/>
                <a:gd name="T23" fmla="*/ 21 h 21"/>
                <a:gd name="T24" fmla="*/ 0 w 21"/>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1">
                  <a:moveTo>
                    <a:pt x="0" y="0"/>
                  </a:moveTo>
                  <a:cubicBezTo>
                    <a:pt x="0" y="1"/>
                    <a:pt x="0" y="1"/>
                    <a:pt x="0" y="2"/>
                  </a:cubicBezTo>
                  <a:cubicBezTo>
                    <a:pt x="0" y="2"/>
                    <a:pt x="0" y="2"/>
                    <a:pt x="0" y="2"/>
                  </a:cubicBezTo>
                  <a:cubicBezTo>
                    <a:pt x="0" y="2"/>
                    <a:pt x="0" y="2"/>
                    <a:pt x="0" y="2"/>
                  </a:cubicBezTo>
                  <a:cubicBezTo>
                    <a:pt x="0" y="3"/>
                    <a:pt x="0" y="3"/>
                    <a:pt x="0" y="3"/>
                  </a:cubicBezTo>
                  <a:cubicBezTo>
                    <a:pt x="1" y="3"/>
                    <a:pt x="1" y="4"/>
                    <a:pt x="1" y="4"/>
                  </a:cubicBezTo>
                  <a:cubicBezTo>
                    <a:pt x="2" y="4"/>
                    <a:pt x="2" y="4"/>
                    <a:pt x="2" y="4"/>
                  </a:cubicBezTo>
                  <a:cubicBezTo>
                    <a:pt x="1" y="5"/>
                    <a:pt x="1" y="5"/>
                    <a:pt x="1" y="5"/>
                  </a:cubicBezTo>
                  <a:cubicBezTo>
                    <a:pt x="16" y="20"/>
                    <a:pt x="16" y="20"/>
                    <a:pt x="16" y="20"/>
                  </a:cubicBezTo>
                  <a:cubicBezTo>
                    <a:pt x="17" y="19"/>
                    <a:pt x="17" y="19"/>
                    <a:pt x="17" y="19"/>
                  </a:cubicBezTo>
                  <a:cubicBezTo>
                    <a:pt x="17" y="20"/>
                    <a:pt x="17" y="20"/>
                    <a:pt x="17" y="20"/>
                  </a:cubicBezTo>
                  <a:cubicBezTo>
                    <a:pt x="18" y="21"/>
                    <a:pt x="19" y="21"/>
                    <a:pt x="21" y="21"/>
                  </a:cubicBezTo>
                  <a:lnTo>
                    <a:pt x="0" y="0"/>
                  </a:lnTo>
                  <a:close/>
                </a:path>
              </a:pathLst>
            </a:custGeom>
            <a:solidFill>
              <a:srgbClr val="B3B3B3"/>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8" name="Freeform 112">
              <a:extLst>
                <a:ext uri="{FF2B5EF4-FFF2-40B4-BE49-F238E27FC236}">
                  <a16:creationId xmlns:a16="http://schemas.microsoft.com/office/drawing/2014/main" id="{5D7F0C4A-5CEA-47C2-84B0-018BD508965C}"/>
                </a:ext>
              </a:extLst>
            </p:cNvPr>
            <p:cNvSpPr>
              <a:spLocks/>
            </p:cNvSpPr>
            <p:nvPr/>
          </p:nvSpPr>
          <p:spPr bwMode="auto">
            <a:xfrm>
              <a:off x="3734" y="2070"/>
              <a:ext cx="72" cy="54"/>
            </a:xfrm>
            <a:custGeom>
              <a:avLst/>
              <a:gdLst>
                <a:gd name="T0" fmla="*/ 34 w 35"/>
                <a:gd name="T1" fmla="*/ 1 h 26"/>
                <a:gd name="T2" fmla="*/ 14 w 35"/>
                <a:gd name="T3" fmla="*/ 20 h 26"/>
                <a:gd name="T4" fmla="*/ 0 w 35"/>
                <a:gd name="T5" fmla="*/ 26 h 26"/>
                <a:gd name="T6" fmla="*/ 11 w 35"/>
                <a:gd name="T7" fmla="*/ 26 h 26"/>
                <a:gd name="T8" fmla="*/ 16 w 35"/>
                <a:gd name="T9" fmla="*/ 23 h 26"/>
                <a:gd name="T10" fmla="*/ 34 w 35"/>
                <a:gd name="T11" fmla="*/ 7 h 26"/>
                <a:gd name="T12" fmla="*/ 35 w 35"/>
                <a:gd name="T13" fmla="*/ 0 h 26"/>
                <a:gd name="T14" fmla="*/ 34 w 35"/>
                <a:gd name="T15" fmla="*/ 1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34" y="1"/>
                  </a:moveTo>
                  <a:cubicBezTo>
                    <a:pt x="34" y="1"/>
                    <a:pt x="27" y="12"/>
                    <a:pt x="14" y="20"/>
                  </a:cubicBezTo>
                  <a:cubicBezTo>
                    <a:pt x="8" y="24"/>
                    <a:pt x="4" y="25"/>
                    <a:pt x="0" y="26"/>
                  </a:cubicBezTo>
                  <a:cubicBezTo>
                    <a:pt x="3" y="25"/>
                    <a:pt x="7" y="25"/>
                    <a:pt x="11" y="26"/>
                  </a:cubicBezTo>
                  <a:cubicBezTo>
                    <a:pt x="12" y="25"/>
                    <a:pt x="14" y="24"/>
                    <a:pt x="16" y="23"/>
                  </a:cubicBezTo>
                  <a:cubicBezTo>
                    <a:pt x="24" y="17"/>
                    <a:pt x="31" y="11"/>
                    <a:pt x="34" y="7"/>
                  </a:cubicBezTo>
                  <a:cubicBezTo>
                    <a:pt x="34" y="5"/>
                    <a:pt x="34" y="3"/>
                    <a:pt x="35" y="0"/>
                  </a:cubicBezTo>
                  <a:lnTo>
                    <a:pt x="34" y="1"/>
                  </a:lnTo>
                  <a:close/>
                </a:path>
              </a:pathLst>
            </a:custGeom>
            <a:solidFill>
              <a:srgbClr val="D9D9D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699" name="Freeform 113">
              <a:extLst>
                <a:ext uri="{FF2B5EF4-FFF2-40B4-BE49-F238E27FC236}">
                  <a16:creationId xmlns:a16="http://schemas.microsoft.com/office/drawing/2014/main" id="{42CE12A9-7ACC-4705-83F3-0056061CA283}"/>
                </a:ext>
              </a:extLst>
            </p:cNvPr>
            <p:cNvSpPr>
              <a:spLocks/>
            </p:cNvSpPr>
            <p:nvPr/>
          </p:nvSpPr>
          <p:spPr bwMode="auto">
            <a:xfrm>
              <a:off x="3693" y="2155"/>
              <a:ext cx="169" cy="167"/>
            </a:xfrm>
            <a:custGeom>
              <a:avLst/>
              <a:gdLst>
                <a:gd name="T0" fmla="*/ 82 w 82"/>
                <a:gd name="T1" fmla="*/ 15 h 81"/>
                <a:gd name="T2" fmla="*/ 74 w 82"/>
                <a:gd name="T3" fmla="*/ 8 h 81"/>
                <a:gd name="T4" fmla="*/ 67 w 82"/>
                <a:gd name="T5" fmla="*/ 0 h 81"/>
                <a:gd name="T6" fmla="*/ 48 w 82"/>
                <a:gd name="T7" fmla="*/ 12 h 81"/>
                <a:gd name="T8" fmla="*/ 46 w 82"/>
                <a:gd name="T9" fmla="*/ 13 h 81"/>
                <a:gd name="T10" fmla="*/ 6 w 82"/>
                <a:gd name="T11" fmla="*/ 54 h 81"/>
                <a:gd name="T12" fmla="*/ 6 w 82"/>
                <a:gd name="T13" fmla="*/ 74 h 81"/>
                <a:gd name="T14" fmla="*/ 8 w 82"/>
                <a:gd name="T15" fmla="*/ 76 h 81"/>
                <a:gd name="T16" fmla="*/ 28 w 82"/>
                <a:gd name="T17" fmla="*/ 76 h 81"/>
                <a:gd name="T18" fmla="*/ 69 w 82"/>
                <a:gd name="T19" fmla="*/ 35 h 81"/>
                <a:gd name="T20" fmla="*/ 69 w 82"/>
                <a:gd name="T21" fmla="*/ 33 h 81"/>
                <a:gd name="T22" fmla="*/ 82 w 82"/>
                <a:gd name="T23"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1">
                  <a:moveTo>
                    <a:pt x="82" y="15"/>
                  </a:moveTo>
                  <a:cubicBezTo>
                    <a:pt x="74" y="8"/>
                    <a:pt x="74" y="8"/>
                    <a:pt x="74" y="8"/>
                  </a:cubicBezTo>
                  <a:cubicBezTo>
                    <a:pt x="67" y="0"/>
                    <a:pt x="67" y="0"/>
                    <a:pt x="67" y="0"/>
                  </a:cubicBezTo>
                  <a:cubicBezTo>
                    <a:pt x="56" y="11"/>
                    <a:pt x="50" y="12"/>
                    <a:pt x="48" y="12"/>
                  </a:cubicBezTo>
                  <a:cubicBezTo>
                    <a:pt x="48" y="12"/>
                    <a:pt x="47" y="13"/>
                    <a:pt x="46" y="13"/>
                  </a:cubicBezTo>
                  <a:cubicBezTo>
                    <a:pt x="6" y="54"/>
                    <a:pt x="6" y="54"/>
                    <a:pt x="6" y="54"/>
                  </a:cubicBezTo>
                  <a:cubicBezTo>
                    <a:pt x="0" y="59"/>
                    <a:pt x="0" y="68"/>
                    <a:pt x="6" y="74"/>
                  </a:cubicBezTo>
                  <a:cubicBezTo>
                    <a:pt x="8" y="76"/>
                    <a:pt x="8" y="76"/>
                    <a:pt x="8" y="76"/>
                  </a:cubicBezTo>
                  <a:cubicBezTo>
                    <a:pt x="14" y="81"/>
                    <a:pt x="23" y="81"/>
                    <a:pt x="28" y="76"/>
                  </a:cubicBezTo>
                  <a:cubicBezTo>
                    <a:pt x="69" y="35"/>
                    <a:pt x="69" y="35"/>
                    <a:pt x="69" y="35"/>
                  </a:cubicBezTo>
                  <a:cubicBezTo>
                    <a:pt x="69" y="35"/>
                    <a:pt x="69" y="34"/>
                    <a:pt x="69" y="33"/>
                  </a:cubicBezTo>
                  <a:cubicBezTo>
                    <a:pt x="69" y="31"/>
                    <a:pt x="71" y="26"/>
                    <a:pt x="82" y="15"/>
                  </a:cubicBezTo>
                  <a:close/>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0" name="Freeform 114">
              <a:extLst>
                <a:ext uri="{FF2B5EF4-FFF2-40B4-BE49-F238E27FC236}">
                  <a16:creationId xmlns:a16="http://schemas.microsoft.com/office/drawing/2014/main" id="{0AB34BDD-05BC-4D07-8821-4E88A06E6D38}"/>
                </a:ext>
              </a:extLst>
            </p:cNvPr>
            <p:cNvSpPr>
              <a:spLocks/>
            </p:cNvSpPr>
            <p:nvPr/>
          </p:nvSpPr>
          <p:spPr bwMode="auto">
            <a:xfrm>
              <a:off x="3870" y="2015"/>
              <a:ext cx="131" cy="132"/>
            </a:xfrm>
            <a:custGeom>
              <a:avLst/>
              <a:gdLst>
                <a:gd name="T0" fmla="*/ 56 w 64"/>
                <a:gd name="T1" fmla="*/ 18 h 64"/>
                <a:gd name="T2" fmla="*/ 64 w 64"/>
                <a:gd name="T3" fmla="*/ 6 h 64"/>
                <a:gd name="T4" fmla="*/ 61 w 64"/>
                <a:gd name="T5" fmla="*/ 3 h 64"/>
                <a:gd name="T6" fmla="*/ 58 w 64"/>
                <a:gd name="T7" fmla="*/ 0 h 64"/>
                <a:gd name="T8" fmla="*/ 45 w 64"/>
                <a:gd name="T9" fmla="*/ 8 h 64"/>
                <a:gd name="T10" fmla="*/ 44 w 64"/>
                <a:gd name="T11" fmla="*/ 9 h 64"/>
                <a:gd name="T12" fmla="*/ 36 w 64"/>
                <a:gd name="T13" fmla="*/ 21 h 64"/>
                <a:gd name="T14" fmla="*/ 0 w 64"/>
                <a:gd name="T15" fmla="*/ 58 h 64"/>
                <a:gd name="T16" fmla="*/ 1 w 64"/>
                <a:gd name="T17" fmla="*/ 63 h 64"/>
                <a:gd name="T18" fmla="*/ 6 w 64"/>
                <a:gd name="T19" fmla="*/ 64 h 64"/>
                <a:gd name="T20" fmla="*/ 43 w 64"/>
                <a:gd name="T21" fmla="*/ 27 h 64"/>
                <a:gd name="T22" fmla="*/ 55 w 64"/>
                <a:gd name="T23" fmla="*/ 20 h 64"/>
                <a:gd name="T24" fmla="*/ 56 w 64"/>
                <a:gd name="T25" fmla="*/ 1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56" y="18"/>
                  </a:moveTo>
                  <a:cubicBezTo>
                    <a:pt x="64" y="6"/>
                    <a:pt x="64" y="6"/>
                    <a:pt x="64" y="6"/>
                  </a:cubicBezTo>
                  <a:cubicBezTo>
                    <a:pt x="61" y="3"/>
                    <a:pt x="61" y="3"/>
                    <a:pt x="61" y="3"/>
                  </a:cubicBezTo>
                  <a:cubicBezTo>
                    <a:pt x="58" y="0"/>
                    <a:pt x="58" y="0"/>
                    <a:pt x="58" y="0"/>
                  </a:cubicBezTo>
                  <a:cubicBezTo>
                    <a:pt x="45" y="8"/>
                    <a:pt x="45" y="8"/>
                    <a:pt x="45" y="8"/>
                  </a:cubicBezTo>
                  <a:cubicBezTo>
                    <a:pt x="45" y="8"/>
                    <a:pt x="44" y="8"/>
                    <a:pt x="44" y="9"/>
                  </a:cubicBezTo>
                  <a:cubicBezTo>
                    <a:pt x="36" y="21"/>
                    <a:pt x="36" y="21"/>
                    <a:pt x="36" y="21"/>
                  </a:cubicBezTo>
                  <a:cubicBezTo>
                    <a:pt x="0" y="58"/>
                    <a:pt x="0" y="58"/>
                    <a:pt x="0" y="58"/>
                  </a:cubicBezTo>
                  <a:cubicBezTo>
                    <a:pt x="1" y="63"/>
                    <a:pt x="1" y="63"/>
                    <a:pt x="1" y="63"/>
                  </a:cubicBezTo>
                  <a:cubicBezTo>
                    <a:pt x="6" y="64"/>
                    <a:pt x="6" y="64"/>
                    <a:pt x="6" y="64"/>
                  </a:cubicBezTo>
                  <a:cubicBezTo>
                    <a:pt x="43" y="27"/>
                    <a:pt x="43" y="27"/>
                    <a:pt x="43" y="27"/>
                  </a:cubicBezTo>
                  <a:cubicBezTo>
                    <a:pt x="55" y="20"/>
                    <a:pt x="55" y="20"/>
                    <a:pt x="55" y="20"/>
                  </a:cubicBezTo>
                  <a:cubicBezTo>
                    <a:pt x="55" y="19"/>
                    <a:pt x="56" y="19"/>
                    <a:pt x="56" y="18"/>
                  </a:cubicBezTo>
                  <a:close/>
                </a:path>
              </a:pathLst>
            </a:custGeom>
            <a:solidFill>
              <a:srgbClr val="75757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1" name="Freeform 115">
              <a:extLst>
                <a:ext uri="{FF2B5EF4-FFF2-40B4-BE49-F238E27FC236}">
                  <a16:creationId xmlns:a16="http://schemas.microsoft.com/office/drawing/2014/main" id="{8025F9A0-5039-425B-AA4E-8CA75451C8A8}"/>
                </a:ext>
              </a:extLst>
            </p:cNvPr>
            <p:cNvSpPr>
              <a:spLocks/>
            </p:cNvSpPr>
            <p:nvPr/>
          </p:nvSpPr>
          <p:spPr bwMode="auto">
            <a:xfrm>
              <a:off x="3705" y="2188"/>
              <a:ext cx="93" cy="93"/>
            </a:xfrm>
            <a:custGeom>
              <a:avLst/>
              <a:gdLst>
                <a:gd name="T0" fmla="*/ 1 w 45"/>
                <a:gd name="T1" fmla="*/ 44 h 45"/>
                <a:gd name="T2" fmla="*/ 1 w 45"/>
                <a:gd name="T3" fmla="*/ 44 h 45"/>
                <a:gd name="T4" fmla="*/ 1 w 45"/>
                <a:gd name="T5" fmla="*/ 40 h 45"/>
                <a:gd name="T6" fmla="*/ 40 w 45"/>
                <a:gd name="T7" fmla="*/ 1 h 45"/>
                <a:gd name="T8" fmla="*/ 44 w 45"/>
                <a:gd name="T9" fmla="*/ 1 h 45"/>
                <a:gd name="T10" fmla="*/ 44 w 45"/>
                <a:gd name="T11" fmla="*/ 6 h 45"/>
                <a:gd name="T12" fmla="*/ 6 w 45"/>
                <a:gd name="T13" fmla="*/ 44 h 45"/>
                <a:gd name="T14" fmla="*/ 1 w 45"/>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 y="44"/>
                  </a:moveTo>
                  <a:cubicBezTo>
                    <a:pt x="1" y="44"/>
                    <a:pt x="1" y="44"/>
                    <a:pt x="1" y="44"/>
                  </a:cubicBezTo>
                  <a:cubicBezTo>
                    <a:pt x="0" y="43"/>
                    <a:pt x="0" y="41"/>
                    <a:pt x="1" y="40"/>
                  </a:cubicBezTo>
                  <a:cubicBezTo>
                    <a:pt x="40" y="1"/>
                    <a:pt x="40" y="1"/>
                    <a:pt x="40" y="1"/>
                  </a:cubicBezTo>
                  <a:cubicBezTo>
                    <a:pt x="41" y="0"/>
                    <a:pt x="43" y="0"/>
                    <a:pt x="44" y="1"/>
                  </a:cubicBezTo>
                  <a:cubicBezTo>
                    <a:pt x="45" y="2"/>
                    <a:pt x="45" y="4"/>
                    <a:pt x="44" y="6"/>
                  </a:cubicBezTo>
                  <a:cubicBezTo>
                    <a:pt x="6" y="44"/>
                    <a:pt x="6" y="44"/>
                    <a:pt x="6" y="44"/>
                  </a:cubicBezTo>
                  <a:cubicBezTo>
                    <a:pt x="4" y="45"/>
                    <a:pt x="2" y="45"/>
                    <a:pt x="1" y="44"/>
                  </a:cubicBez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2" name="Freeform 116">
              <a:extLst>
                <a:ext uri="{FF2B5EF4-FFF2-40B4-BE49-F238E27FC236}">
                  <a16:creationId xmlns:a16="http://schemas.microsoft.com/office/drawing/2014/main" id="{C6253BA8-D0E8-46E1-A640-EA37FD108819}"/>
                </a:ext>
              </a:extLst>
            </p:cNvPr>
            <p:cNvSpPr>
              <a:spLocks/>
            </p:cNvSpPr>
            <p:nvPr/>
          </p:nvSpPr>
          <p:spPr bwMode="auto">
            <a:xfrm>
              <a:off x="3734" y="2217"/>
              <a:ext cx="95" cy="94"/>
            </a:xfrm>
            <a:custGeom>
              <a:avLst/>
              <a:gdLst>
                <a:gd name="T0" fmla="*/ 2 w 46"/>
                <a:gd name="T1" fmla="*/ 45 h 46"/>
                <a:gd name="T2" fmla="*/ 2 w 46"/>
                <a:gd name="T3" fmla="*/ 45 h 46"/>
                <a:gd name="T4" fmla="*/ 2 w 46"/>
                <a:gd name="T5" fmla="*/ 40 h 46"/>
                <a:gd name="T6" fmla="*/ 40 w 46"/>
                <a:gd name="T7" fmla="*/ 2 h 46"/>
                <a:gd name="T8" fmla="*/ 45 w 46"/>
                <a:gd name="T9" fmla="*/ 2 h 46"/>
                <a:gd name="T10" fmla="*/ 45 w 46"/>
                <a:gd name="T11" fmla="*/ 6 h 46"/>
                <a:gd name="T12" fmla="*/ 6 w 46"/>
                <a:gd name="T13" fmla="*/ 45 h 46"/>
                <a:gd name="T14" fmla="*/ 2 w 46"/>
                <a:gd name="T15" fmla="*/ 45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2" y="45"/>
                  </a:moveTo>
                  <a:cubicBezTo>
                    <a:pt x="2" y="45"/>
                    <a:pt x="2" y="45"/>
                    <a:pt x="2" y="45"/>
                  </a:cubicBezTo>
                  <a:cubicBezTo>
                    <a:pt x="0" y="43"/>
                    <a:pt x="0" y="41"/>
                    <a:pt x="2" y="40"/>
                  </a:cubicBezTo>
                  <a:cubicBezTo>
                    <a:pt x="40" y="2"/>
                    <a:pt x="40" y="2"/>
                    <a:pt x="40" y="2"/>
                  </a:cubicBezTo>
                  <a:cubicBezTo>
                    <a:pt x="41" y="0"/>
                    <a:pt x="43" y="0"/>
                    <a:pt x="45" y="2"/>
                  </a:cubicBezTo>
                  <a:cubicBezTo>
                    <a:pt x="46" y="3"/>
                    <a:pt x="46" y="5"/>
                    <a:pt x="45" y="6"/>
                  </a:cubicBezTo>
                  <a:cubicBezTo>
                    <a:pt x="6" y="45"/>
                    <a:pt x="6" y="45"/>
                    <a:pt x="6" y="45"/>
                  </a:cubicBezTo>
                  <a:cubicBezTo>
                    <a:pt x="5" y="46"/>
                    <a:pt x="3" y="46"/>
                    <a:pt x="2" y="45"/>
                  </a:cubicBez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3" name="Freeform 117">
              <a:extLst>
                <a:ext uri="{FF2B5EF4-FFF2-40B4-BE49-F238E27FC236}">
                  <a16:creationId xmlns:a16="http://schemas.microsoft.com/office/drawing/2014/main" id="{A172FE65-56EE-405F-845B-2834C201AA4A}"/>
                </a:ext>
              </a:extLst>
            </p:cNvPr>
            <p:cNvSpPr>
              <a:spLocks/>
            </p:cNvSpPr>
            <p:nvPr/>
          </p:nvSpPr>
          <p:spPr bwMode="auto">
            <a:xfrm>
              <a:off x="3716" y="2202"/>
              <a:ext cx="98" cy="99"/>
            </a:xfrm>
            <a:custGeom>
              <a:avLst/>
              <a:gdLst>
                <a:gd name="T0" fmla="*/ 2 w 48"/>
                <a:gd name="T1" fmla="*/ 46 h 48"/>
                <a:gd name="T2" fmla="*/ 2 w 48"/>
                <a:gd name="T3" fmla="*/ 46 h 48"/>
                <a:gd name="T4" fmla="*/ 2 w 48"/>
                <a:gd name="T5" fmla="*/ 40 h 48"/>
                <a:gd name="T6" fmla="*/ 41 w 48"/>
                <a:gd name="T7" fmla="*/ 1 h 48"/>
                <a:gd name="T8" fmla="*/ 46 w 48"/>
                <a:gd name="T9" fmla="*/ 1 h 48"/>
                <a:gd name="T10" fmla="*/ 46 w 48"/>
                <a:gd name="T11" fmla="*/ 7 h 48"/>
                <a:gd name="T12" fmla="*/ 7 w 48"/>
                <a:gd name="T13" fmla="*/ 46 h 48"/>
                <a:gd name="T14" fmla="*/ 2 w 48"/>
                <a:gd name="T15" fmla="*/ 4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8">
                  <a:moveTo>
                    <a:pt x="2" y="46"/>
                  </a:moveTo>
                  <a:cubicBezTo>
                    <a:pt x="2" y="46"/>
                    <a:pt x="2" y="46"/>
                    <a:pt x="2" y="46"/>
                  </a:cubicBezTo>
                  <a:cubicBezTo>
                    <a:pt x="0" y="45"/>
                    <a:pt x="0" y="42"/>
                    <a:pt x="2" y="40"/>
                  </a:cubicBezTo>
                  <a:cubicBezTo>
                    <a:pt x="41" y="1"/>
                    <a:pt x="41" y="1"/>
                    <a:pt x="41" y="1"/>
                  </a:cubicBezTo>
                  <a:cubicBezTo>
                    <a:pt x="42" y="0"/>
                    <a:pt x="45" y="0"/>
                    <a:pt x="46" y="1"/>
                  </a:cubicBezTo>
                  <a:cubicBezTo>
                    <a:pt x="48" y="3"/>
                    <a:pt x="48" y="6"/>
                    <a:pt x="46" y="7"/>
                  </a:cubicBezTo>
                  <a:cubicBezTo>
                    <a:pt x="7" y="46"/>
                    <a:pt x="7" y="46"/>
                    <a:pt x="7" y="46"/>
                  </a:cubicBezTo>
                  <a:cubicBezTo>
                    <a:pt x="6" y="48"/>
                    <a:pt x="3" y="48"/>
                    <a:pt x="2" y="46"/>
                  </a:cubicBez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4" name="Freeform 118">
              <a:extLst>
                <a:ext uri="{FF2B5EF4-FFF2-40B4-BE49-F238E27FC236}">
                  <a16:creationId xmlns:a16="http://schemas.microsoft.com/office/drawing/2014/main" id="{DDCEE8AE-84C7-4726-BFEE-ABE2CEADB12D}"/>
                </a:ext>
              </a:extLst>
            </p:cNvPr>
            <p:cNvSpPr>
              <a:spLocks/>
            </p:cNvSpPr>
            <p:nvPr/>
          </p:nvSpPr>
          <p:spPr bwMode="auto">
            <a:xfrm>
              <a:off x="3954" y="2015"/>
              <a:ext cx="47" cy="45"/>
            </a:xfrm>
            <a:custGeom>
              <a:avLst/>
              <a:gdLst>
                <a:gd name="T0" fmla="*/ 5 w 23"/>
                <a:gd name="T1" fmla="*/ 9 h 22"/>
                <a:gd name="T2" fmla="*/ 1 w 23"/>
                <a:gd name="T3" fmla="*/ 20 h 22"/>
                <a:gd name="T4" fmla="*/ 3 w 23"/>
                <a:gd name="T5" fmla="*/ 22 h 22"/>
                <a:gd name="T6" fmla="*/ 14 w 23"/>
                <a:gd name="T7" fmla="*/ 17 h 22"/>
                <a:gd name="T8" fmla="*/ 14 w 23"/>
                <a:gd name="T9" fmla="*/ 17 h 22"/>
                <a:gd name="T10" fmla="*/ 23 w 23"/>
                <a:gd name="T11" fmla="*/ 6 h 22"/>
                <a:gd name="T12" fmla="*/ 20 w 23"/>
                <a:gd name="T13" fmla="*/ 3 h 22"/>
                <a:gd name="T14" fmla="*/ 17 w 23"/>
                <a:gd name="T15" fmla="*/ 0 h 22"/>
                <a:gd name="T16" fmla="*/ 6 w 23"/>
                <a:gd name="T17" fmla="*/ 8 h 22"/>
                <a:gd name="T18" fmla="*/ 5 w 23"/>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5" y="9"/>
                  </a:moveTo>
                  <a:cubicBezTo>
                    <a:pt x="1" y="20"/>
                    <a:pt x="1" y="20"/>
                    <a:pt x="1" y="20"/>
                  </a:cubicBezTo>
                  <a:cubicBezTo>
                    <a:pt x="0" y="21"/>
                    <a:pt x="2" y="22"/>
                    <a:pt x="3" y="22"/>
                  </a:cubicBezTo>
                  <a:cubicBezTo>
                    <a:pt x="14" y="17"/>
                    <a:pt x="14" y="17"/>
                    <a:pt x="14" y="17"/>
                  </a:cubicBezTo>
                  <a:cubicBezTo>
                    <a:pt x="14" y="17"/>
                    <a:pt x="14" y="17"/>
                    <a:pt x="14" y="17"/>
                  </a:cubicBezTo>
                  <a:cubicBezTo>
                    <a:pt x="23" y="6"/>
                    <a:pt x="23" y="6"/>
                    <a:pt x="23" y="6"/>
                  </a:cubicBezTo>
                  <a:cubicBezTo>
                    <a:pt x="20" y="3"/>
                    <a:pt x="20" y="3"/>
                    <a:pt x="20" y="3"/>
                  </a:cubicBezTo>
                  <a:cubicBezTo>
                    <a:pt x="17" y="0"/>
                    <a:pt x="17" y="0"/>
                    <a:pt x="17" y="0"/>
                  </a:cubicBezTo>
                  <a:cubicBezTo>
                    <a:pt x="6" y="8"/>
                    <a:pt x="6" y="8"/>
                    <a:pt x="6" y="8"/>
                  </a:cubicBezTo>
                  <a:lnTo>
                    <a:pt x="5" y="9"/>
                  </a:lnTo>
                  <a:close/>
                </a:path>
              </a:pathLst>
            </a:custGeom>
            <a:solidFill>
              <a:srgbClr val="D9D9D9"/>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5" name="Freeform 119">
              <a:extLst>
                <a:ext uri="{FF2B5EF4-FFF2-40B4-BE49-F238E27FC236}">
                  <a16:creationId xmlns:a16="http://schemas.microsoft.com/office/drawing/2014/main" id="{2E8379DE-85E4-45C8-9C28-0A5A4FAAB06A}"/>
                </a:ext>
              </a:extLst>
            </p:cNvPr>
            <p:cNvSpPr>
              <a:spLocks/>
            </p:cNvSpPr>
            <p:nvPr/>
          </p:nvSpPr>
          <p:spPr bwMode="auto">
            <a:xfrm>
              <a:off x="3831" y="2155"/>
              <a:ext cx="31" cy="37"/>
            </a:xfrm>
            <a:custGeom>
              <a:avLst/>
              <a:gdLst>
                <a:gd name="T0" fmla="*/ 12 w 15"/>
                <a:gd name="T1" fmla="*/ 18 h 18"/>
                <a:gd name="T2" fmla="*/ 15 w 15"/>
                <a:gd name="T3" fmla="*/ 15 h 18"/>
                <a:gd name="T4" fmla="*/ 7 w 15"/>
                <a:gd name="T5" fmla="*/ 8 h 18"/>
                <a:gd name="T6" fmla="*/ 0 w 15"/>
                <a:gd name="T7" fmla="*/ 0 h 18"/>
                <a:gd name="T8" fmla="*/ 12 w 15"/>
                <a:gd name="T9" fmla="*/ 18 h 18"/>
              </a:gdLst>
              <a:ahLst/>
              <a:cxnLst>
                <a:cxn ang="0">
                  <a:pos x="T0" y="T1"/>
                </a:cxn>
                <a:cxn ang="0">
                  <a:pos x="T2" y="T3"/>
                </a:cxn>
                <a:cxn ang="0">
                  <a:pos x="T4" y="T5"/>
                </a:cxn>
                <a:cxn ang="0">
                  <a:pos x="T6" y="T7"/>
                </a:cxn>
                <a:cxn ang="0">
                  <a:pos x="T8" y="T9"/>
                </a:cxn>
              </a:cxnLst>
              <a:rect l="0" t="0" r="r" b="b"/>
              <a:pathLst>
                <a:path w="15" h="18">
                  <a:moveTo>
                    <a:pt x="12" y="18"/>
                  </a:moveTo>
                  <a:cubicBezTo>
                    <a:pt x="13" y="17"/>
                    <a:pt x="14" y="16"/>
                    <a:pt x="15" y="15"/>
                  </a:cubicBezTo>
                  <a:cubicBezTo>
                    <a:pt x="7" y="8"/>
                    <a:pt x="7" y="8"/>
                    <a:pt x="7" y="8"/>
                  </a:cubicBezTo>
                  <a:cubicBezTo>
                    <a:pt x="0" y="0"/>
                    <a:pt x="0" y="0"/>
                    <a:pt x="0" y="0"/>
                  </a:cubicBezTo>
                  <a:lnTo>
                    <a:pt x="12" y="18"/>
                  </a:ln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06" name="Freeform 120">
              <a:extLst>
                <a:ext uri="{FF2B5EF4-FFF2-40B4-BE49-F238E27FC236}">
                  <a16:creationId xmlns:a16="http://schemas.microsoft.com/office/drawing/2014/main" id="{8E89A6AB-1C01-4B02-8BD8-399938413576}"/>
                </a:ext>
              </a:extLst>
            </p:cNvPr>
            <p:cNvSpPr>
              <a:spLocks/>
            </p:cNvSpPr>
            <p:nvPr/>
          </p:nvSpPr>
          <p:spPr bwMode="auto">
            <a:xfrm>
              <a:off x="3827" y="2120"/>
              <a:ext cx="69" cy="70"/>
            </a:xfrm>
            <a:custGeom>
              <a:avLst/>
              <a:gdLst>
                <a:gd name="T0" fmla="*/ 16 w 34"/>
                <a:gd name="T1" fmla="*/ 32 h 34"/>
                <a:gd name="T2" fmla="*/ 2 w 34"/>
                <a:gd name="T3" fmla="*/ 18 h 34"/>
                <a:gd name="T4" fmla="*/ 2 w 34"/>
                <a:gd name="T5" fmla="*/ 10 h 34"/>
                <a:gd name="T6" fmla="*/ 9 w 34"/>
                <a:gd name="T7" fmla="*/ 2 h 34"/>
                <a:gd name="T8" fmla="*/ 17 w 34"/>
                <a:gd name="T9" fmla="*/ 2 h 34"/>
                <a:gd name="T10" fmla="*/ 31 w 34"/>
                <a:gd name="T11" fmla="*/ 17 h 34"/>
                <a:gd name="T12" fmla="*/ 31 w 34"/>
                <a:gd name="T13" fmla="*/ 25 h 34"/>
                <a:gd name="T14" fmla="*/ 24 w 34"/>
                <a:gd name="T15" fmla="*/ 32 h 34"/>
                <a:gd name="T16" fmla="*/ 16 w 34"/>
                <a:gd name="T17"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6" y="32"/>
                  </a:moveTo>
                  <a:cubicBezTo>
                    <a:pt x="2" y="18"/>
                    <a:pt x="2" y="18"/>
                    <a:pt x="2" y="18"/>
                  </a:cubicBezTo>
                  <a:cubicBezTo>
                    <a:pt x="0" y="15"/>
                    <a:pt x="0" y="12"/>
                    <a:pt x="2" y="10"/>
                  </a:cubicBezTo>
                  <a:cubicBezTo>
                    <a:pt x="9" y="2"/>
                    <a:pt x="9" y="2"/>
                    <a:pt x="9" y="2"/>
                  </a:cubicBezTo>
                  <a:cubicBezTo>
                    <a:pt x="11" y="0"/>
                    <a:pt x="15" y="0"/>
                    <a:pt x="17" y="2"/>
                  </a:cubicBezTo>
                  <a:cubicBezTo>
                    <a:pt x="31" y="17"/>
                    <a:pt x="31" y="17"/>
                    <a:pt x="31" y="17"/>
                  </a:cubicBezTo>
                  <a:cubicBezTo>
                    <a:pt x="34" y="19"/>
                    <a:pt x="34" y="22"/>
                    <a:pt x="31" y="25"/>
                  </a:cubicBezTo>
                  <a:cubicBezTo>
                    <a:pt x="24" y="32"/>
                    <a:pt x="24" y="32"/>
                    <a:pt x="24" y="32"/>
                  </a:cubicBezTo>
                  <a:cubicBezTo>
                    <a:pt x="22" y="34"/>
                    <a:pt x="18" y="34"/>
                    <a:pt x="16" y="32"/>
                  </a:cubicBezTo>
                  <a:close/>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707" name="ICON TP">
            <a:extLst>
              <a:ext uri="{FF2B5EF4-FFF2-40B4-BE49-F238E27FC236}">
                <a16:creationId xmlns:a16="http://schemas.microsoft.com/office/drawing/2014/main" id="{E63B0784-3A31-4CA2-9B10-F5EC51F2D2E0}"/>
              </a:ext>
            </a:extLst>
          </p:cNvPr>
          <p:cNvGrpSpPr>
            <a:grpSpLocks noChangeAspect="1"/>
          </p:cNvGrpSpPr>
          <p:nvPr/>
        </p:nvGrpSpPr>
        <p:grpSpPr bwMode="auto">
          <a:xfrm>
            <a:off x="7344831" y="385644"/>
            <a:ext cx="895247" cy="895247"/>
            <a:chOff x="3504" y="1823"/>
            <a:chExt cx="674" cy="674"/>
          </a:xfrm>
          <a:scene3d>
            <a:camera prst="perspectiveFront">
              <a:rot lat="17099985" lon="0" rev="0"/>
            </a:camera>
            <a:lightRig rig="threePt" dir="t"/>
          </a:scene3d>
        </p:grpSpPr>
        <p:sp>
          <p:nvSpPr>
            <p:cNvPr id="708" name="Oval 138">
              <a:extLst>
                <a:ext uri="{FF2B5EF4-FFF2-40B4-BE49-F238E27FC236}">
                  <a16:creationId xmlns:a16="http://schemas.microsoft.com/office/drawing/2014/main" id="{192DC609-CF9B-41FC-93FB-D06D7D68E1A5}"/>
                </a:ext>
              </a:extLst>
            </p:cNvPr>
            <p:cNvSpPr>
              <a:spLocks noChangeArrowheads="1"/>
            </p:cNvSpPr>
            <p:nvPr/>
          </p:nvSpPr>
          <p:spPr bwMode="auto">
            <a:xfrm>
              <a:off x="3504" y="1823"/>
              <a:ext cx="674" cy="67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h="508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709" name="Freeform 139">
              <a:extLst>
                <a:ext uri="{FF2B5EF4-FFF2-40B4-BE49-F238E27FC236}">
                  <a16:creationId xmlns:a16="http://schemas.microsoft.com/office/drawing/2014/main" id="{6A423678-6A1C-46C3-A66D-47E62B24FB95}"/>
                </a:ext>
              </a:extLst>
            </p:cNvPr>
            <p:cNvSpPr>
              <a:spLocks/>
            </p:cNvSpPr>
            <p:nvPr/>
          </p:nvSpPr>
          <p:spPr bwMode="auto">
            <a:xfrm>
              <a:off x="3710" y="2006"/>
              <a:ext cx="263" cy="147"/>
            </a:xfrm>
            <a:custGeom>
              <a:avLst/>
              <a:gdLst>
                <a:gd name="T0" fmla="*/ 263 w 263"/>
                <a:gd name="T1" fmla="*/ 73 h 147"/>
                <a:gd name="T2" fmla="*/ 131 w 263"/>
                <a:gd name="T3" fmla="*/ 147 h 147"/>
                <a:gd name="T4" fmla="*/ 0 w 263"/>
                <a:gd name="T5" fmla="*/ 73 h 147"/>
                <a:gd name="T6" fmla="*/ 131 w 263"/>
                <a:gd name="T7" fmla="*/ 0 h 147"/>
                <a:gd name="T8" fmla="*/ 263 w 263"/>
                <a:gd name="T9" fmla="*/ 73 h 147"/>
                <a:gd name="T10" fmla="*/ 263 w 263"/>
                <a:gd name="T11" fmla="*/ 73 h 147"/>
                <a:gd name="T12" fmla="*/ 263 w 263"/>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263" h="147">
                  <a:moveTo>
                    <a:pt x="263" y="73"/>
                  </a:moveTo>
                  <a:lnTo>
                    <a:pt x="131" y="147"/>
                  </a:lnTo>
                  <a:lnTo>
                    <a:pt x="0" y="73"/>
                  </a:lnTo>
                  <a:lnTo>
                    <a:pt x="131" y="0"/>
                  </a:lnTo>
                  <a:lnTo>
                    <a:pt x="263" y="73"/>
                  </a:lnTo>
                  <a:lnTo>
                    <a:pt x="263" y="73"/>
                  </a:lnTo>
                  <a:lnTo>
                    <a:pt x="263" y="73"/>
                  </a:lnTo>
                  <a:close/>
                </a:path>
              </a:pathLst>
            </a:custGeom>
            <a:solidFill>
              <a:srgbClr val="30E5D0"/>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0" name="Freeform 140">
              <a:extLst>
                <a:ext uri="{FF2B5EF4-FFF2-40B4-BE49-F238E27FC236}">
                  <a16:creationId xmlns:a16="http://schemas.microsoft.com/office/drawing/2014/main" id="{7769F831-8CCE-4F96-93CD-564EA85018A3}"/>
                </a:ext>
              </a:extLst>
            </p:cNvPr>
            <p:cNvSpPr>
              <a:spLocks/>
            </p:cNvSpPr>
            <p:nvPr/>
          </p:nvSpPr>
          <p:spPr bwMode="auto">
            <a:xfrm>
              <a:off x="3710" y="2079"/>
              <a:ext cx="131" cy="235"/>
            </a:xfrm>
            <a:custGeom>
              <a:avLst/>
              <a:gdLst>
                <a:gd name="T0" fmla="*/ 131 w 131"/>
                <a:gd name="T1" fmla="*/ 235 h 235"/>
                <a:gd name="T2" fmla="*/ 131 w 131"/>
                <a:gd name="T3" fmla="*/ 72 h 235"/>
                <a:gd name="T4" fmla="*/ 0 w 131"/>
                <a:gd name="T5" fmla="*/ 0 h 235"/>
                <a:gd name="T6" fmla="*/ 0 w 131"/>
                <a:gd name="T7" fmla="*/ 162 h 235"/>
                <a:gd name="T8" fmla="*/ 131 w 131"/>
                <a:gd name="T9" fmla="*/ 235 h 235"/>
                <a:gd name="T10" fmla="*/ 131 w 131"/>
                <a:gd name="T11" fmla="*/ 235 h 235"/>
                <a:gd name="T12" fmla="*/ 131 w 131"/>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1" h="235">
                  <a:moveTo>
                    <a:pt x="131" y="235"/>
                  </a:moveTo>
                  <a:lnTo>
                    <a:pt x="131" y="72"/>
                  </a:lnTo>
                  <a:lnTo>
                    <a:pt x="0" y="0"/>
                  </a:lnTo>
                  <a:lnTo>
                    <a:pt x="0" y="162"/>
                  </a:lnTo>
                  <a:lnTo>
                    <a:pt x="131" y="235"/>
                  </a:lnTo>
                  <a:lnTo>
                    <a:pt x="131" y="235"/>
                  </a:lnTo>
                  <a:lnTo>
                    <a:pt x="131" y="235"/>
                  </a:lnTo>
                  <a:close/>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1" name="Freeform 141">
              <a:extLst>
                <a:ext uri="{FF2B5EF4-FFF2-40B4-BE49-F238E27FC236}">
                  <a16:creationId xmlns:a16="http://schemas.microsoft.com/office/drawing/2014/main" id="{EF7F803C-1241-48A9-9A9D-032800B00A80}"/>
                </a:ext>
              </a:extLst>
            </p:cNvPr>
            <p:cNvSpPr>
              <a:spLocks/>
            </p:cNvSpPr>
            <p:nvPr/>
          </p:nvSpPr>
          <p:spPr bwMode="auto">
            <a:xfrm>
              <a:off x="3841" y="2079"/>
              <a:ext cx="132" cy="235"/>
            </a:xfrm>
            <a:custGeom>
              <a:avLst/>
              <a:gdLst>
                <a:gd name="T0" fmla="*/ 0 w 132"/>
                <a:gd name="T1" fmla="*/ 235 h 235"/>
                <a:gd name="T2" fmla="*/ 0 w 132"/>
                <a:gd name="T3" fmla="*/ 72 h 235"/>
                <a:gd name="T4" fmla="*/ 132 w 132"/>
                <a:gd name="T5" fmla="*/ 0 h 235"/>
                <a:gd name="T6" fmla="*/ 132 w 132"/>
                <a:gd name="T7" fmla="*/ 162 h 235"/>
                <a:gd name="T8" fmla="*/ 0 w 132"/>
                <a:gd name="T9" fmla="*/ 235 h 235"/>
                <a:gd name="T10" fmla="*/ 0 w 132"/>
                <a:gd name="T11" fmla="*/ 235 h 235"/>
                <a:gd name="T12" fmla="*/ 0 w 132"/>
                <a:gd name="T13" fmla="*/ 235 h 235"/>
              </a:gdLst>
              <a:ahLst/>
              <a:cxnLst>
                <a:cxn ang="0">
                  <a:pos x="T0" y="T1"/>
                </a:cxn>
                <a:cxn ang="0">
                  <a:pos x="T2" y="T3"/>
                </a:cxn>
                <a:cxn ang="0">
                  <a:pos x="T4" y="T5"/>
                </a:cxn>
                <a:cxn ang="0">
                  <a:pos x="T6" y="T7"/>
                </a:cxn>
                <a:cxn ang="0">
                  <a:pos x="T8" y="T9"/>
                </a:cxn>
                <a:cxn ang="0">
                  <a:pos x="T10" y="T11"/>
                </a:cxn>
                <a:cxn ang="0">
                  <a:pos x="T12" y="T13"/>
                </a:cxn>
              </a:cxnLst>
              <a:rect l="0" t="0" r="r" b="b"/>
              <a:pathLst>
                <a:path w="132" h="235">
                  <a:moveTo>
                    <a:pt x="0" y="235"/>
                  </a:moveTo>
                  <a:lnTo>
                    <a:pt x="0" y="72"/>
                  </a:lnTo>
                  <a:lnTo>
                    <a:pt x="132" y="0"/>
                  </a:lnTo>
                  <a:lnTo>
                    <a:pt x="132" y="162"/>
                  </a:lnTo>
                  <a:lnTo>
                    <a:pt x="0" y="235"/>
                  </a:lnTo>
                  <a:lnTo>
                    <a:pt x="0" y="235"/>
                  </a:lnTo>
                  <a:lnTo>
                    <a:pt x="0" y="235"/>
                  </a:lnTo>
                  <a:close/>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2" name="Freeform 142">
              <a:extLst>
                <a:ext uri="{FF2B5EF4-FFF2-40B4-BE49-F238E27FC236}">
                  <a16:creationId xmlns:a16="http://schemas.microsoft.com/office/drawing/2014/main" id="{84D0FD31-92DB-4D30-8AA3-7006609111B1}"/>
                </a:ext>
              </a:extLst>
            </p:cNvPr>
            <p:cNvSpPr>
              <a:spLocks/>
            </p:cNvSpPr>
            <p:nvPr/>
          </p:nvSpPr>
          <p:spPr bwMode="auto">
            <a:xfrm>
              <a:off x="3691" y="1988"/>
              <a:ext cx="300" cy="344"/>
            </a:xfrm>
            <a:custGeom>
              <a:avLst/>
              <a:gdLst>
                <a:gd name="T0" fmla="*/ 140 w 146"/>
                <a:gd name="T1" fmla="*/ 114 h 167"/>
                <a:gd name="T2" fmla="*/ 140 w 146"/>
                <a:gd name="T3" fmla="*/ 53 h 167"/>
                <a:gd name="T4" fmla="*/ 146 w 146"/>
                <a:gd name="T5" fmla="*/ 44 h 167"/>
                <a:gd name="T6" fmla="*/ 137 w 146"/>
                <a:gd name="T7" fmla="*/ 35 h 167"/>
                <a:gd name="T8" fmla="*/ 131 w 146"/>
                <a:gd name="T9" fmla="*/ 38 h 167"/>
                <a:gd name="T10" fmla="*/ 82 w 146"/>
                <a:gd name="T11" fmla="*/ 11 h 167"/>
                <a:gd name="T12" fmla="*/ 82 w 146"/>
                <a:gd name="T13" fmla="*/ 9 h 167"/>
                <a:gd name="T14" fmla="*/ 73 w 146"/>
                <a:gd name="T15" fmla="*/ 0 h 167"/>
                <a:gd name="T16" fmla="*/ 64 w 146"/>
                <a:gd name="T17" fmla="*/ 9 h 167"/>
                <a:gd name="T18" fmla="*/ 73 w 146"/>
                <a:gd name="T19" fmla="*/ 18 h 167"/>
                <a:gd name="T20" fmla="*/ 79 w 146"/>
                <a:gd name="T21" fmla="*/ 16 h 167"/>
                <a:gd name="T22" fmla="*/ 128 w 146"/>
                <a:gd name="T23" fmla="*/ 42 h 167"/>
                <a:gd name="T24" fmla="*/ 128 w 146"/>
                <a:gd name="T25" fmla="*/ 44 h 167"/>
                <a:gd name="T26" fmla="*/ 128 w 146"/>
                <a:gd name="T27" fmla="*/ 46 h 167"/>
                <a:gd name="T28" fmla="*/ 80 w 146"/>
                <a:gd name="T29" fmla="*/ 73 h 167"/>
                <a:gd name="T30" fmla="*/ 73 w 146"/>
                <a:gd name="T31" fmla="*/ 70 h 167"/>
                <a:gd name="T32" fmla="*/ 64 w 146"/>
                <a:gd name="T33" fmla="*/ 79 h 167"/>
                <a:gd name="T34" fmla="*/ 70 w 146"/>
                <a:gd name="T35" fmla="*/ 88 h 167"/>
                <a:gd name="T36" fmla="*/ 70 w 146"/>
                <a:gd name="T37" fmla="*/ 149 h 167"/>
                <a:gd name="T38" fmla="*/ 67 w 146"/>
                <a:gd name="T39" fmla="*/ 151 h 167"/>
                <a:gd name="T40" fmla="*/ 18 w 146"/>
                <a:gd name="T41" fmla="*/ 125 h 167"/>
                <a:gd name="T42" fmla="*/ 18 w 146"/>
                <a:gd name="T43" fmla="*/ 123 h 167"/>
                <a:gd name="T44" fmla="*/ 12 w 146"/>
                <a:gd name="T45" fmla="*/ 114 h 167"/>
                <a:gd name="T46" fmla="*/ 12 w 146"/>
                <a:gd name="T47" fmla="*/ 53 h 167"/>
                <a:gd name="T48" fmla="*/ 18 w 146"/>
                <a:gd name="T49" fmla="*/ 44 h 167"/>
                <a:gd name="T50" fmla="*/ 9 w 146"/>
                <a:gd name="T51" fmla="*/ 35 h 167"/>
                <a:gd name="T52" fmla="*/ 0 w 146"/>
                <a:gd name="T53" fmla="*/ 44 h 167"/>
                <a:gd name="T54" fmla="*/ 6 w 146"/>
                <a:gd name="T55" fmla="*/ 53 h 167"/>
                <a:gd name="T56" fmla="*/ 6 w 146"/>
                <a:gd name="T57" fmla="*/ 114 h 167"/>
                <a:gd name="T58" fmla="*/ 0 w 146"/>
                <a:gd name="T59" fmla="*/ 123 h 167"/>
                <a:gd name="T60" fmla="*/ 9 w 146"/>
                <a:gd name="T61" fmla="*/ 132 h 167"/>
                <a:gd name="T62" fmla="*/ 16 w 146"/>
                <a:gd name="T63" fmla="*/ 130 h 167"/>
                <a:gd name="T64" fmla="*/ 64 w 146"/>
                <a:gd name="T65" fmla="*/ 156 h 167"/>
                <a:gd name="T66" fmla="*/ 64 w 146"/>
                <a:gd name="T67" fmla="*/ 157 h 167"/>
                <a:gd name="T68" fmla="*/ 73 w 146"/>
                <a:gd name="T69" fmla="*/ 167 h 167"/>
                <a:gd name="T70" fmla="*/ 82 w 146"/>
                <a:gd name="T71" fmla="*/ 157 h 167"/>
                <a:gd name="T72" fmla="*/ 76 w 146"/>
                <a:gd name="T73" fmla="*/ 149 h 167"/>
                <a:gd name="T74" fmla="*/ 76 w 146"/>
                <a:gd name="T75" fmla="*/ 88 h 167"/>
                <a:gd name="T76" fmla="*/ 82 w 146"/>
                <a:gd name="T77" fmla="*/ 79 h 167"/>
                <a:gd name="T78" fmla="*/ 82 w 146"/>
                <a:gd name="T79" fmla="*/ 77 h 167"/>
                <a:gd name="T80" fmla="*/ 130 w 146"/>
                <a:gd name="T81" fmla="*/ 51 h 167"/>
                <a:gd name="T82" fmla="*/ 134 w 146"/>
                <a:gd name="T83" fmla="*/ 53 h 167"/>
                <a:gd name="T84" fmla="*/ 134 w 146"/>
                <a:gd name="T85" fmla="*/ 114 h 167"/>
                <a:gd name="T86" fmla="*/ 128 w 146"/>
                <a:gd name="T87" fmla="*/ 123 h 167"/>
                <a:gd name="T88" fmla="*/ 137 w 146"/>
                <a:gd name="T89" fmla="*/ 132 h 167"/>
                <a:gd name="T90" fmla="*/ 146 w 146"/>
                <a:gd name="T91" fmla="*/ 123 h 167"/>
                <a:gd name="T92" fmla="*/ 140 w 146"/>
                <a:gd name="T93"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 h="167">
                  <a:moveTo>
                    <a:pt x="140" y="114"/>
                  </a:moveTo>
                  <a:cubicBezTo>
                    <a:pt x="140" y="53"/>
                    <a:pt x="140" y="53"/>
                    <a:pt x="140" y="53"/>
                  </a:cubicBezTo>
                  <a:cubicBezTo>
                    <a:pt x="143" y="52"/>
                    <a:pt x="146" y="48"/>
                    <a:pt x="146" y="44"/>
                  </a:cubicBezTo>
                  <a:cubicBezTo>
                    <a:pt x="146" y="39"/>
                    <a:pt x="142" y="35"/>
                    <a:pt x="137" y="35"/>
                  </a:cubicBezTo>
                  <a:cubicBezTo>
                    <a:pt x="134" y="35"/>
                    <a:pt x="132" y="36"/>
                    <a:pt x="131" y="38"/>
                  </a:cubicBezTo>
                  <a:cubicBezTo>
                    <a:pt x="82" y="11"/>
                    <a:pt x="82" y="11"/>
                    <a:pt x="82" y="11"/>
                  </a:cubicBezTo>
                  <a:cubicBezTo>
                    <a:pt x="82" y="10"/>
                    <a:pt x="82" y="10"/>
                    <a:pt x="82" y="9"/>
                  </a:cubicBezTo>
                  <a:cubicBezTo>
                    <a:pt x="82" y="4"/>
                    <a:pt x="78" y="0"/>
                    <a:pt x="73" y="0"/>
                  </a:cubicBezTo>
                  <a:cubicBezTo>
                    <a:pt x="68" y="0"/>
                    <a:pt x="64" y="4"/>
                    <a:pt x="64" y="9"/>
                  </a:cubicBezTo>
                  <a:cubicBezTo>
                    <a:pt x="64" y="14"/>
                    <a:pt x="68" y="18"/>
                    <a:pt x="73" y="18"/>
                  </a:cubicBezTo>
                  <a:cubicBezTo>
                    <a:pt x="76" y="18"/>
                    <a:pt x="78" y="17"/>
                    <a:pt x="79" y="16"/>
                  </a:cubicBezTo>
                  <a:cubicBezTo>
                    <a:pt x="128" y="42"/>
                    <a:pt x="128" y="42"/>
                    <a:pt x="128" y="42"/>
                  </a:cubicBezTo>
                  <a:cubicBezTo>
                    <a:pt x="128" y="43"/>
                    <a:pt x="128" y="44"/>
                    <a:pt x="128" y="44"/>
                  </a:cubicBezTo>
                  <a:cubicBezTo>
                    <a:pt x="128" y="45"/>
                    <a:pt x="128" y="46"/>
                    <a:pt x="128" y="46"/>
                  </a:cubicBezTo>
                  <a:cubicBezTo>
                    <a:pt x="80" y="73"/>
                    <a:pt x="80" y="73"/>
                    <a:pt x="80" y="73"/>
                  </a:cubicBezTo>
                  <a:cubicBezTo>
                    <a:pt x="78" y="71"/>
                    <a:pt x="76" y="70"/>
                    <a:pt x="73" y="70"/>
                  </a:cubicBezTo>
                  <a:cubicBezTo>
                    <a:pt x="68" y="70"/>
                    <a:pt x="64" y="74"/>
                    <a:pt x="64" y="79"/>
                  </a:cubicBezTo>
                  <a:cubicBezTo>
                    <a:pt x="64" y="83"/>
                    <a:pt x="67" y="87"/>
                    <a:pt x="70" y="88"/>
                  </a:cubicBezTo>
                  <a:cubicBezTo>
                    <a:pt x="70" y="149"/>
                    <a:pt x="70" y="149"/>
                    <a:pt x="70" y="149"/>
                  </a:cubicBezTo>
                  <a:cubicBezTo>
                    <a:pt x="69" y="149"/>
                    <a:pt x="68" y="150"/>
                    <a:pt x="67" y="151"/>
                  </a:cubicBezTo>
                  <a:cubicBezTo>
                    <a:pt x="18" y="125"/>
                    <a:pt x="18" y="125"/>
                    <a:pt x="18" y="125"/>
                  </a:cubicBezTo>
                  <a:cubicBezTo>
                    <a:pt x="18" y="124"/>
                    <a:pt x="18" y="124"/>
                    <a:pt x="18" y="123"/>
                  </a:cubicBezTo>
                  <a:cubicBezTo>
                    <a:pt x="18" y="119"/>
                    <a:pt x="16" y="115"/>
                    <a:pt x="12" y="114"/>
                  </a:cubicBezTo>
                  <a:cubicBezTo>
                    <a:pt x="12" y="53"/>
                    <a:pt x="12" y="53"/>
                    <a:pt x="12" y="53"/>
                  </a:cubicBezTo>
                  <a:cubicBezTo>
                    <a:pt x="16" y="52"/>
                    <a:pt x="18" y="48"/>
                    <a:pt x="18" y="44"/>
                  </a:cubicBezTo>
                  <a:cubicBezTo>
                    <a:pt x="18" y="39"/>
                    <a:pt x="14" y="35"/>
                    <a:pt x="9" y="35"/>
                  </a:cubicBezTo>
                  <a:cubicBezTo>
                    <a:pt x="4" y="35"/>
                    <a:pt x="0" y="39"/>
                    <a:pt x="0" y="44"/>
                  </a:cubicBezTo>
                  <a:cubicBezTo>
                    <a:pt x="0" y="48"/>
                    <a:pt x="3" y="52"/>
                    <a:pt x="6" y="53"/>
                  </a:cubicBezTo>
                  <a:cubicBezTo>
                    <a:pt x="6" y="114"/>
                    <a:pt x="6" y="114"/>
                    <a:pt x="6" y="114"/>
                  </a:cubicBezTo>
                  <a:cubicBezTo>
                    <a:pt x="3" y="115"/>
                    <a:pt x="0" y="119"/>
                    <a:pt x="0" y="123"/>
                  </a:cubicBezTo>
                  <a:cubicBezTo>
                    <a:pt x="0" y="128"/>
                    <a:pt x="4" y="132"/>
                    <a:pt x="9" y="132"/>
                  </a:cubicBezTo>
                  <a:cubicBezTo>
                    <a:pt x="12" y="132"/>
                    <a:pt x="14" y="131"/>
                    <a:pt x="16" y="130"/>
                  </a:cubicBezTo>
                  <a:cubicBezTo>
                    <a:pt x="64" y="156"/>
                    <a:pt x="64" y="156"/>
                    <a:pt x="64" y="156"/>
                  </a:cubicBezTo>
                  <a:cubicBezTo>
                    <a:pt x="64" y="156"/>
                    <a:pt x="64" y="157"/>
                    <a:pt x="64" y="157"/>
                  </a:cubicBezTo>
                  <a:cubicBezTo>
                    <a:pt x="64" y="163"/>
                    <a:pt x="68" y="167"/>
                    <a:pt x="73" y="167"/>
                  </a:cubicBezTo>
                  <a:cubicBezTo>
                    <a:pt x="78" y="167"/>
                    <a:pt x="82" y="163"/>
                    <a:pt x="82" y="157"/>
                  </a:cubicBezTo>
                  <a:cubicBezTo>
                    <a:pt x="82" y="153"/>
                    <a:pt x="79" y="150"/>
                    <a:pt x="76" y="149"/>
                  </a:cubicBezTo>
                  <a:cubicBezTo>
                    <a:pt x="76" y="88"/>
                    <a:pt x="76" y="88"/>
                    <a:pt x="76" y="88"/>
                  </a:cubicBezTo>
                  <a:cubicBezTo>
                    <a:pt x="79" y="87"/>
                    <a:pt x="82" y="83"/>
                    <a:pt x="82" y="79"/>
                  </a:cubicBezTo>
                  <a:cubicBezTo>
                    <a:pt x="82" y="78"/>
                    <a:pt x="82" y="78"/>
                    <a:pt x="82" y="77"/>
                  </a:cubicBezTo>
                  <a:cubicBezTo>
                    <a:pt x="130" y="51"/>
                    <a:pt x="130" y="51"/>
                    <a:pt x="130" y="51"/>
                  </a:cubicBezTo>
                  <a:cubicBezTo>
                    <a:pt x="132" y="52"/>
                    <a:pt x="133" y="53"/>
                    <a:pt x="134" y="53"/>
                  </a:cubicBezTo>
                  <a:cubicBezTo>
                    <a:pt x="134" y="114"/>
                    <a:pt x="134" y="114"/>
                    <a:pt x="134" y="114"/>
                  </a:cubicBezTo>
                  <a:cubicBezTo>
                    <a:pt x="131" y="115"/>
                    <a:pt x="128" y="119"/>
                    <a:pt x="128" y="123"/>
                  </a:cubicBezTo>
                  <a:cubicBezTo>
                    <a:pt x="128" y="128"/>
                    <a:pt x="132" y="132"/>
                    <a:pt x="137" y="132"/>
                  </a:cubicBezTo>
                  <a:cubicBezTo>
                    <a:pt x="142" y="132"/>
                    <a:pt x="146" y="128"/>
                    <a:pt x="146" y="123"/>
                  </a:cubicBezTo>
                  <a:cubicBezTo>
                    <a:pt x="146" y="119"/>
                    <a:pt x="143" y="115"/>
                    <a:pt x="140" y="114"/>
                  </a:cubicBezTo>
                  <a:close/>
                </a:path>
              </a:pathLst>
            </a:custGeom>
            <a:solidFill>
              <a:srgbClr val="3C3C41"/>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713" name="ICON OO">
            <a:extLst>
              <a:ext uri="{FF2B5EF4-FFF2-40B4-BE49-F238E27FC236}">
                <a16:creationId xmlns:a16="http://schemas.microsoft.com/office/drawing/2014/main" id="{47838A6C-8748-4251-B390-E7B218EC5A57}"/>
              </a:ext>
            </a:extLst>
          </p:cNvPr>
          <p:cNvGrpSpPr>
            <a:grpSpLocks noChangeAspect="1"/>
          </p:cNvGrpSpPr>
          <p:nvPr/>
        </p:nvGrpSpPr>
        <p:grpSpPr bwMode="auto">
          <a:xfrm>
            <a:off x="5636634" y="813600"/>
            <a:ext cx="897903" cy="895247"/>
            <a:chOff x="3502" y="1825"/>
            <a:chExt cx="676" cy="674"/>
          </a:xfrm>
          <a:scene3d>
            <a:camera prst="perspectiveFront">
              <a:rot lat="17099985" lon="0" rev="0"/>
            </a:camera>
            <a:lightRig rig="threePt" dir="t"/>
          </a:scene3d>
        </p:grpSpPr>
        <p:sp>
          <p:nvSpPr>
            <p:cNvPr id="714" name="Oval 124">
              <a:extLst>
                <a:ext uri="{FF2B5EF4-FFF2-40B4-BE49-F238E27FC236}">
                  <a16:creationId xmlns:a16="http://schemas.microsoft.com/office/drawing/2014/main" id="{51684C68-703E-43E3-B7BB-317CF3EC7046}"/>
                </a:ext>
              </a:extLst>
            </p:cNvPr>
            <p:cNvSpPr>
              <a:spLocks noChangeArrowheads="1"/>
            </p:cNvSpPr>
            <p:nvPr/>
          </p:nvSpPr>
          <p:spPr bwMode="auto">
            <a:xfrm>
              <a:off x="3502" y="1825"/>
              <a:ext cx="676" cy="67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a:sp3d>
              <a:bevelB w="139700" h="508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de-DE" sz="20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715" name="Freeform 125">
              <a:extLst>
                <a:ext uri="{FF2B5EF4-FFF2-40B4-BE49-F238E27FC236}">
                  <a16:creationId xmlns:a16="http://schemas.microsoft.com/office/drawing/2014/main" id="{83DCB24C-0A9E-4E0A-AF2D-F4C405C1F2ED}"/>
                </a:ext>
              </a:extLst>
            </p:cNvPr>
            <p:cNvSpPr>
              <a:spLocks noEditPoints="1"/>
            </p:cNvSpPr>
            <p:nvPr/>
          </p:nvSpPr>
          <p:spPr bwMode="auto">
            <a:xfrm>
              <a:off x="3735" y="2058"/>
              <a:ext cx="210" cy="208"/>
            </a:xfrm>
            <a:custGeom>
              <a:avLst/>
              <a:gdLst>
                <a:gd name="T0" fmla="*/ 98 w 102"/>
                <a:gd name="T1" fmla="*/ 45 h 101"/>
                <a:gd name="T2" fmla="*/ 99 w 102"/>
                <a:gd name="T3" fmla="*/ 36 h 101"/>
                <a:gd name="T4" fmla="*/ 95 w 102"/>
                <a:gd name="T5" fmla="*/ 26 h 101"/>
                <a:gd name="T6" fmla="*/ 89 w 102"/>
                <a:gd name="T7" fmla="*/ 21 h 101"/>
                <a:gd name="T8" fmla="*/ 90 w 102"/>
                <a:gd name="T9" fmla="*/ 18 h 101"/>
                <a:gd name="T10" fmla="*/ 81 w 102"/>
                <a:gd name="T11" fmla="*/ 13 h 101"/>
                <a:gd name="T12" fmla="*/ 74 w 102"/>
                <a:gd name="T13" fmla="*/ 8 h 101"/>
                <a:gd name="T14" fmla="*/ 67 w 102"/>
                <a:gd name="T15" fmla="*/ 2 h 101"/>
                <a:gd name="T16" fmla="*/ 64 w 102"/>
                <a:gd name="T17" fmla="*/ 5 h 101"/>
                <a:gd name="T18" fmla="*/ 56 w 102"/>
                <a:gd name="T19" fmla="*/ 1 h 101"/>
                <a:gd name="T20" fmla="*/ 46 w 102"/>
                <a:gd name="T21" fmla="*/ 1 h 101"/>
                <a:gd name="T22" fmla="*/ 39 w 102"/>
                <a:gd name="T23" fmla="*/ 5 h 101"/>
                <a:gd name="T24" fmla="*/ 36 w 102"/>
                <a:gd name="T25" fmla="*/ 2 h 101"/>
                <a:gd name="T26" fmla="*/ 28 w 102"/>
                <a:gd name="T27" fmla="*/ 8 h 101"/>
                <a:gd name="T28" fmla="*/ 21 w 102"/>
                <a:gd name="T29" fmla="*/ 13 h 101"/>
                <a:gd name="T30" fmla="*/ 12 w 102"/>
                <a:gd name="T31" fmla="*/ 18 h 101"/>
                <a:gd name="T32" fmla="*/ 13 w 102"/>
                <a:gd name="T33" fmla="*/ 21 h 101"/>
                <a:gd name="T34" fmla="*/ 7 w 102"/>
                <a:gd name="T35" fmla="*/ 26 h 101"/>
                <a:gd name="T36" fmla="*/ 3 w 102"/>
                <a:gd name="T37" fmla="*/ 36 h 101"/>
                <a:gd name="T38" fmla="*/ 4 w 102"/>
                <a:gd name="T39" fmla="*/ 45 h 101"/>
                <a:gd name="T40" fmla="*/ 0 w 102"/>
                <a:gd name="T41" fmla="*/ 46 h 101"/>
                <a:gd name="T42" fmla="*/ 3 w 102"/>
                <a:gd name="T43" fmla="*/ 56 h 101"/>
                <a:gd name="T44" fmla="*/ 5 w 102"/>
                <a:gd name="T45" fmla="*/ 64 h 101"/>
                <a:gd name="T46" fmla="*/ 6 w 102"/>
                <a:gd name="T47" fmla="*/ 74 h 101"/>
                <a:gd name="T48" fmla="*/ 10 w 102"/>
                <a:gd name="T49" fmla="*/ 74 h 101"/>
                <a:gd name="T50" fmla="*/ 12 w 102"/>
                <a:gd name="T51" fmla="*/ 82 h 101"/>
                <a:gd name="T52" fmla="*/ 20 w 102"/>
                <a:gd name="T53" fmla="*/ 89 h 101"/>
                <a:gd name="T54" fmla="*/ 27 w 102"/>
                <a:gd name="T55" fmla="*/ 92 h 101"/>
                <a:gd name="T56" fmla="*/ 27 w 102"/>
                <a:gd name="T57" fmla="*/ 96 h 101"/>
                <a:gd name="T58" fmla="*/ 37 w 102"/>
                <a:gd name="T59" fmla="*/ 97 h 101"/>
                <a:gd name="T60" fmla="*/ 46 w 102"/>
                <a:gd name="T61" fmla="*/ 99 h 101"/>
                <a:gd name="T62" fmla="*/ 55 w 102"/>
                <a:gd name="T63" fmla="*/ 101 h 101"/>
                <a:gd name="T64" fmla="*/ 57 w 102"/>
                <a:gd name="T65" fmla="*/ 98 h 101"/>
                <a:gd name="T66" fmla="*/ 65 w 102"/>
                <a:gd name="T67" fmla="*/ 98 h 101"/>
                <a:gd name="T68" fmla="*/ 75 w 102"/>
                <a:gd name="T69" fmla="*/ 95 h 101"/>
                <a:gd name="T70" fmla="*/ 80 w 102"/>
                <a:gd name="T71" fmla="*/ 88 h 101"/>
                <a:gd name="T72" fmla="*/ 84 w 102"/>
                <a:gd name="T73" fmla="*/ 89 h 101"/>
                <a:gd name="T74" fmla="*/ 89 w 102"/>
                <a:gd name="T75" fmla="*/ 81 h 101"/>
                <a:gd name="T76" fmla="*/ 93 w 102"/>
                <a:gd name="T77" fmla="*/ 74 h 101"/>
                <a:gd name="T78" fmla="*/ 99 w 102"/>
                <a:gd name="T79" fmla="*/ 66 h 101"/>
                <a:gd name="T80" fmla="*/ 97 w 102"/>
                <a:gd name="T81" fmla="*/ 63 h 101"/>
                <a:gd name="T82" fmla="*/ 101 w 102"/>
                <a:gd name="T83" fmla="*/ 56 h 101"/>
                <a:gd name="T84" fmla="*/ 101 w 102"/>
                <a:gd name="T85" fmla="*/ 45 h 101"/>
                <a:gd name="T86" fmla="*/ 51 w 102"/>
                <a:gd name="T87" fmla="*/ 2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101">
                  <a:moveTo>
                    <a:pt x="101" y="45"/>
                  </a:moveTo>
                  <a:cubicBezTo>
                    <a:pt x="99" y="45"/>
                    <a:pt x="99" y="45"/>
                    <a:pt x="99" y="45"/>
                  </a:cubicBezTo>
                  <a:cubicBezTo>
                    <a:pt x="99" y="45"/>
                    <a:pt x="98" y="45"/>
                    <a:pt x="98" y="45"/>
                  </a:cubicBezTo>
                  <a:cubicBezTo>
                    <a:pt x="98" y="42"/>
                    <a:pt x="97" y="40"/>
                    <a:pt x="97" y="38"/>
                  </a:cubicBezTo>
                  <a:cubicBezTo>
                    <a:pt x="97" y="37"/>
                    <a:pt x="97" y="37"/>
                    <a:pt x="97" y="37"/>
                  </a:cubicBezTo>
                  <a:cubicBezTo>
                    <a:pt x="99" y="36"/>
                    <a:pt x="99" y="36"/>
                    <a:pt x="99" y="36"/>
                  </a:cubicBezTo>
                  <a:cubicBezTo>
                    <a:pt x="99" y="36"/>
                    <a:pt x="100" y="35"/>
                    <a:pt x="99" y="35"/>
                  </a:cubicBezTo>
                  <a:cubicBezTo>
                    <a:pt x="96" y="27"/>
                    <a:pt x="96" y="27"/>
                    <a:pt x="96" y="27"/>
                  </a:cubicBezTo>
                  <a:cubicBezTo>
                    <a:pt x="96" y="27"/>
                    <a:pt x="95" y="26"/>
                    <a:pt x="95" y="26"/>
                  </a:cubicBezTo>
                  <a:cubicBezTo>
                    <a:pt x="93" y="27"/>
                    <a:pt x="93" y="27"/>
                    <a:pt x="93" y="27"/>
                  </a:cubicBezTo>
                  <a:cubicBezTo>
                    <a:pt x="93" y="27"/>
                    <a:pt x="92" y="27"/>
                    <a:pt x="92" y="27"/>
                  </a:cubicBezTo>
                  <a:cubicBezTo>
                    <a:pt x="91" y="25"/>
                    <a:pt x="90" y="23"/>
                    <a:pt x="89" y="21"/>
                  </a:cubicBezTo>
                  <a:cubicBezTo>
                    <a:pt x="88" y="21"/>
                    <a:pt x="88" y="21"/>
                    <a:pt x="89" y="20"/>
                  </a:cubicBezTo>
                  <a:cubicBezTo>
                    <a:pt x="90" y="19"/>
                    <a:pt x="90" y="19"/>
                    <a:pt x="90" y="19"/>
                  </a:cubicBezTo>
                  <a:cubicBezTo>
                    <a:pt x="90" y="19"/>
                    <a:pt x="90" y="18"/>
                    <a:pt x="90" y="18"/>
                  </a:cubicBezTo>
                  <a:cubicBezTo>
                    <a:pt x="84" y="12"/>
                    <a:pt x="84" y="12"/>
                    <a:pt x="84" y="12"/>
                  </a:cubicBezTo>
                  <a:cubicBezTo>
                    <a:pt x="83" y="11"/>
                    <a:pt x="83" y="11"/>
                    <a:pt x="83" y="12"/>
                  </a:cubicBezTo>
                  <a:cubicBezTo>
                    <a:pt x="81" y="13"/>
                    <a:pt x="81" y="13"/>
                    <a:pt x="81" y="13"/>
                  </a:cubicBezTo>
                  <a:cubicBezTo>
                    <a:pt x="81" y="13"/>
                    <a:pt x="81" y="13"/>
                    <a:pt x="80" y="13"/>
                  </a:cubicBezTo>
                  <a:cubicBezTo>
                    <a:pt x="78" y="12"/>
                    <a:pt x="77" y="10"/>
                    <a:pt x="75" y="9"/>
                  </a:cubicBezTo>
                  <a:cubicBezTo>
                    <a:pt x="74" y="9"/>
                    <a:pt x="74" y="9"/>
                    <a:pt x="74" y="8"/>
                  </a:cubicBezTo>
                  <a:cubicBezTo>
                    <a:pt x="75" y="7"/>
                    <a:pt x="75" y="7"/>
                    <a:pt x="75" y="7"/>
                  </a:cubicBezTo>
                  <a:cubicBezTo>
                    <a:pt x="75" y="6"/>
                    <a:pt x="75" y="6"/>
                    <a:pt x="75" y="6"/>
                  </a:cubicBezTo>
                  <a:cubicBezTo>
                    <a:pt x="67" y="2"/>
                    <a:pt x="67" y="2"/>
                    <a:pt x="67" y="2"/>
                  </a:cubicBezTo>
                  <a:cubicBezTo>
                    <a:pt x="66" y="2"/>
                    <a:pt x="66" y="2"/>
                    <a:pt x="66" y="3"/>
                  </a:cubicBezTo>
                  <a:cubicBezTo>
                    <a:pt x="65" y="4"/>
                    <a:pt x="65" y="4"/>
                    <a:pt x="65" y="4"/>
                  </a:cubicBezTo>
                  <a:cubicBezTo>
                    <a:pt x="65" y="5"/>
                    <a:pt x="64" y="5"/>
                    <a:pt x="64" y="5"/>
                  </a:cubicBezTo>
                  <a:cubicBezTo>
                    <a:pt x="62" y="4"/>
                    <a:pt x="59" y="4"/>
                    <a:pt x="57" y="3"/>
                  </a:cubicBezTo>
                  <a:cubicBezTo>
                    <a:pt x="57" y="3"/>
                    <a:pt x="56" y="3"/>
                    <a:pt x="56" y="2"/>
                  </a:cubicBezTo>
                  <a:cubicBezTo>
                    <a:pt x="56" y="1"/>
                    <a:pt x="56" y="1"/>
                    <a:pt x="56" y="1"/>
                  </a:cubicBezTo>
                  <a:cubicBezTo>
                    <a:pt x="56" y="0"/>
                    <a:pt x="56" y="0"/>
                    <a:pt x="55" y="0"/>
                  </a:cubicBezTo>
                  <a:cubicBezTo>
                    <a:pt x="47" y="0"/>
                    <a:pt x="47" y="0"/>
                    <a:pt x="47" y="0"/>
                  </a:cubicBezTo>
                  <a:cubicBezTo>
                    <a:pt x="46" y="0"/>
                    <a:pt x="46" y="0"/>
                    <a:pt x="46" y="1"/>
                  </a:cubicBezTo>
                  <a:cubicBezTo>
                    <a:pt x="46" y="2"/>
                    <a:pt x="46" y="2"/>
                    <a:pt x="46" y="2"/>
                  </a:cubicBezTo>
                  <a:cubicBezTo>
                    <a:pt x="46" y="3"/>
                    <a:pt x="46" y="3"/>
                    <a:pt x="45" y="3"/>
                  </a:cubicBezTo>
                  <a:cubicBezTo>
                    <a:pt x="43" y="4"/>
                    <a:pt x="41" y="4"/>
                    <a:pt x="39" y="5"/>
                  </a:cubicBezTo>
                  <a:cubicBezTo>
                    <a:pt x="38" y="5"/>
                    <a:pt x="38" y="5"/>
                    <a:pt x="38" y="4"/>
                  </a:cubicBezTo>
                  <a:cubicBezTo>
                    <a:pt x="37" y="3"/>
                    <a:pt x="37" y="3"/>
                    <a:pt x="37" y="3"/>
                  </a:cubicBezTo>
                  <a:cubicBezTo>
                    <a:pt x="37" y="2"/>
                    <a:pt x="36" y="2"/>
                    <a:pt x="36" y="2"/>
                  </a:cubicBezTo>
                  <a:cubicBezTo>
                    <a:pt x="28" y="5"/>
                    <a:pt x="28" y="5"/>
                    <a:pt x="28" y="5"/>
                  </a:cubicBezTo>
                  <a:cubicBezTo>
                    <a:pt x="28" y="5"/>
                    <a:pt x="27" y="6"/>
                    <a:pt x="28" y="6"/>
                  </a:cubicBezTo>
                  <a:cubicBezTo>
                    <a:pt x="28" y="8"/>
                    <a:pt x="28" y="8"/>
                    <a:pt x="28" y="8"/>
                  </a:cubicBezTo>
                  <a:cubicBezTo>
                    <a:pt x="28" y="8"/>
                    <a:pt x="28" y="9"/>
                    <a:pt x="28" y="9"/>
                  </a:cubicBezTo>
                  <a:cubicBezTo>
                    <a:pt x="26" y="10"/>
                    <a:pt x="24" y="12"/>
                    <a:pt x="22" y="13"/>
                  </a:cubicBezTo>
                  <a:cubicBezTo>
                    <a:pt x="22" y="13"/>
                    <a:pt x="21" y="13"/>
                    <a:pt x="21" y="13"/>
                  </a:cubicBezTo>
                  <a:cubicBezTo>
                    <a:pt x="20" y="12"/>
                    <a:pt x="20" y="12"/>
                    <a:pt x="20" y="12"/>
                  </a:cubicBezTo>
                  <a:cubicBezTo>
                    <a:pt x="19" y="11"/>
                    <a:pt x="19" y="11"/>
                    <a:pt x="18" y="12"/>
                  </a:cubicBezTo>
                  <a:cubicBezTo>
                    <a:pt x="12" y="18"/>
                    <a:pt x="12" y="18"/>
                    <a:pt x="12" y="18"/>
                  </a:cubicBezTo>
                  <a:cubicBezTo>
                    <a:pt x="12" y="18"/>
                    <a:pt x="12" y="19"/>
                    <a:pt x="12" y="19"/>
                  </a:cubicBezTo>
                  <a:cubicBezTo>
                    <a:pt x="13" y="20"/>
                    <a:pt x="13" y="20"/>
                    <a:pt x="13" y="20"/>
                  </a:cubicBezTo>
                  <a:cubicBezTo>
                    <a:pt x="14" y="21"/>
                    <a:pt x="14" y="21"/>
                    <a:pt x="13" y="21"/>
                  </a:cubicBezTo>
                  <a:cubicBezTo>
                    <a:pt x="12" y="23"/>
                    <a:pt x="11" y="25"/>
                    <a:pt x="10" y="27"/>
                  </a:cubicBezTo>
                  <a:cubicBezTo>
                    <a:pt x="10" y="27"/>
                    <a:pt x="9" y="27"/>
                    <a:pt x="9" y="27"/>
                  </a:cubicBezTo>
                  <a:cubicBezTo>
                    <a:pt x="7" y="26"/>
                    <a:pt x="7" y="26"/>
                    <a:pt x="7" y="26"/>
                  </a:cubicBezTo>
                  <a:cubicBezTo>
                    <a:pt x="7" y="26"/>
                    <a:pt x="6" y="27"/>
                    <a:pt x="6" y="27"/>
                  </a:cubicBezTo>
                  <a:cubicBezTo>
                    <a:pt x="3" y="35"/>
                    <a:pt x="3" y="35"/>
                    <a:pt x="3" y="35"/>
                  </a:cubicBezTo>
                  <a:cubicBezTo>
                    <a:pt x="3" y="35"/>
                    <a:pt x="3" y="36"/>
                    <a:pt x="3" y="36"/>
                  </a:cubicBezTo>
                  <a:cubicBezTo>
                    <a:pt x="5" y="37"/>
                    <a:pt x="5" y="37"/>
                    <a:pt x="5" y="37"/>
                  </a:cubicBezTo>
                  <a:cubicBezTo>
                    <a:pt x="5" y="37"/>
                    <a:pt x="5" y="37"/>
                    <a:pt x="5" y="38"/>
                  </a:cubicBezTo>
                  <a:cubicBezTo>
                    <a:pt x="5" y="40"/>
                    <a:pt x="4" y="42"/>
                    <a:pt x="4" y="45"/>
                  </a:cubicBezTo>
                  <a:cubicBezTo>
                    <a:pt x="4" y="45"/>
                    <a:pt x="3" y="45"/>
                    <a:pt x="3" y="45"/>
                  </a:cubicBezTo>
                  <a:cubicBezTo>
                    <a:pt x="1" y="45"/>
                    <a:pt x="1" y="45"/>
                    <a:pt x="1" y="45"/>
                  </a:cubicBezTo>
                  <a:cubicBezTo>
                    <a:pt x="1" y="45"/>
                    <a:pt x="0" y="46"/>
                    <a:pt x="0" y="46"/>
                  </a:cubicBezTo>
                  <a:cubicBezTo>
                    <a:pt x="0" y="55"/>
                    <a:pt x="0" y="55"/>
                    <a:pt x="0" y="55"/>
                  </a:cubicBezTo>
                  <a:cubicBezTo>
                    <a:pt x="0" y="55"/>
                    <a:pt x="1" y="56"/>
                    <a:pt x="1" y="56"/>
                  </a:cubicBezTo>
                  <a:cubicBezTo>
                    <a:pt x="3" y="56"/>
                    <a:pt x="3" y="56"/>
                    <a:pt x="3" y="56"/>
                  </a:cubicBezTo>
                  <a:cubicBezTo>
                    <a:pt x="3" y="56"/>
                    <a:pt x="4" y="56"/>
                    <a:pt x="4" y="57"/>
                  </a:cubicBezTo>
                  <a:cubicBezTo>
                    <a:pt x="4" y="59"/>
                    <a:pt x="5" y="61"/>
                    <a:pt x="5" y="63"/>
                  </a:cubicBezTo>
                  <a:cubicBezTo>
                    <a:pt x="5" y="64"/>
                    <a:pt x="5" y="64"/>
                    <a:pt x="5" y="64"/>
                  </a:cubicBezTo>
                  <a:cubicBezTo>
                    <a:pt x="3" y="65"/>
                    <a:pt x="3" y="65"/>
                    <a:pt x="3" y="65"/>
                  </a:cubicBezTo>
                  <a:cubicBezTo>
                    <a:pt x="3" y="65"/>
                    <a:pt x="3" y="66"/>
                    <a:pt x="3" y="66"/>
                  </a:cubicBezTo>
                  <a:cubicBezTo>
                    <a:pt x="6" y="74"/>
                    <a:pt x="6" y="74"/>
                    <a:pt x="6" y="74"/>
                  </a:cubicBezTo>
                  <a:cubicBezTo>
                    <a:pt x="6" y="75"/>
                    <a:pt x="7" y="75"/>
                    <a:pt x="7" y="75"/>
                  </a:cubicBezTo>
                  <a:cubicBezTo>
                    <a:pt x="9" y="74"/>
                    <a:pt x="9" y="74"/>
                    <a:pt x="9" y="74"/>
                  </a:cubicBezTo>
                  <a:cubicBezTo>
                    <a:pt x="9" y="74"/>
                    <a:pt x="10" y="74"/>
                    <a:pt x="10" y="74"/>
                  </a:cubicBezTo>
                  <a:cubicBezTo>
                    <a:pt x="11" y="76"/>
                    <a:pt x="12" y="78"/>
                    <a:pt x="13" y="80"/>
                  </a:cubicBezTo>
                  <a:cubicBezTo>
                    <a:pt x="14" y="80"/>
                    <a:pt x="14" y="81"/>
                    <a:pt x="13" y="81"/>
                  </a:cubicBezTo>
                  <a:cubicBezTo>
                    <a:pt x="12" y="82"/>
                    <a:pt x="12" y="82"/>
                    <a:pt x="12" y="82"/>
                  </a:cubicBezTo>
                  <a:cubicBezTo>
                    <a:pt x="12" y="82"/>
                    <a:pt x="12" y="83"/>
                    <a:pt x="12" y="83"/>
                  </a:cubicBezTo>
                  <a:cubicBezTo>
                    <a:pt x="18" y="89"/>
                    <a:pt x="18" y="89"/>
                    <a:pt x="18" y="89"/>
                  </a:cubicBezTo>
                  <a:cubicBezTo>
                    <a:pt x="19" y="90"/>
                    <a:pt x="19" y="90"/>
                    <a:pt x="20" y="89"/>
                  </a:cubicBezTo>
                  <a:cubicBezTo>
                    <a:pt x="21" y="88"/>
                    <a:pt x="21" y="88"/>
                    <a:pt x="21" y="88"/>
                  </a:cubicBezTo>
                  <a:cubicBezTo>
                    <a:pt x="21" y="88"/>
                    <a:pt x="22" y="88"/>
                    <a:pt x="22" y="88"/>
                  </a:cubicBezTo>
                  <a:cubicBezTo>
                    <a:pt x="24" y="89"/>
                    <a:pt x="25" y="91"/>
                    <a:pt x="27" y="92"/>
                  </a:cubicBezTo>
                  <a:cubicBezTo>
                    <a:pt x="28" y="92"/>
                    <a:pt x="28" y="92"/>
                    <a:pt x="28" y="93"/>
                  </a:cubicBezTo>
                  <a:cubicBezTo>
                    <a:pt x="27" y="94"/>
                    <a:pt x="27" y="94"/>
                    <a:pt x="27" y="94"/>
                  </a:cubicBezTo>
                  <a:cubicBezTo>
                    <a:pt x="27" y="95"/>
                    <a:pt x="27" y="95"/>
                    <a:pt x="27" y="96"/>
                  </a:cubicBezTo>
                  <a:cubicBezTo>
                    <a:pt x="35" y="99"/>
                    <a:pt x="35" y="99"/>
                    <a:pt x="35" y="99"/>
                  </a:cubicBezTo>
                  <a:cubicBezTo>
                    <a:pt x="36" y="99"/>
                    <a:pt x="36" y="99"/>
                    <a:pt x="37" y="98"/>
                  </a:cubicBezTo>
                  <a:cubicBezTo>
                    <a:pt x="37" y="97"/>
                    <a:pt x="37" y="97"/>
                    <a:pt x="37" y="97"/>
                  </a:cubicBezTo>
                  <a:cubicBezTo>
                    <a:pt x="37" y="96"/>
                    <a:pt x="38" y="96"/>
                    <a:pt x="38" y="96"/>
                  </a:cubicBezTo>
                  <a:cubicBezTo>
                    <a:pt x="40" y="97"/>
                    <a:pt x="43" y="97"/>
                    <a:pt x="45" y="98"/>
                  </a:cubicBezTo>
                  <a:cubicBezTo>
                    <a:pt x="46" y="98"/>
                    <a:pt x="46" y="98"/>
                    <a:pt x="46" y="99"/>
                  </a:cubicBezTo>
                  <a:cubicBezTo>
                    <a:pt x="46" y="100"/>
                    <a:pt x="46" y="100"/>
                    <a:pt x="46" y="100"/>
                  </a:cubicBezTo>
                  <a:cubicBezTo>
                    <a:pt x="46" y="101"/>
                    <a:pt x="46" y="101"/>
                    <a:pt x="47" y="101"/>
                  </a:cubicBezTo>
                  <a:cubicBezTo>
                    <a:pt x="55" y="101"/>
                    <a:pt x="55" y="101"/>
                    <a:pt x="55" y="101"/>
                  </a:cubicBezTo>
                  <a:cubicBezTo>
                    <a:pt x="56" y="101"/>
                    <a:pt x="56" y="101"/>
                    <a:pt x="56" y="100"/>
                  </a:cubicBezTo>
                  <a:cubicBezTo>
                    <a:pt x="56" y="99"/>
                    <a:pt x="56" y="99"/>
                    <a:pt x="56" y="99"/>
                  </a:cubicBezTo>
                  <a:cubicBezTo>
                    <a:pt x="56" y="98"/>
                    <a:pt x="57" y="98"/>
                    <a:pt x="57" y="98"/>
                  </a:cubicBezTo>
                  <a:cubicBezTo>
                    <a:pt x="59" y="97"/>
                    <a:pt x="61" y="97"/>
                    <a:pt x="63" y="96"/>
                  </a:cubicBezTo>
                  <a:cubicBezTo>
                    <a:pt x="64" y="96"/>
                    <a:pt x="64" y="97"/>
                    <a:pt x="64" y="97"/>
                  </a:cubicBezTo>
                  <a:cubicBezTo>
                    <a:pt x="65" y="98"/>
                    <a:pt x="65" y="98"/>
                    <a:pt x="65" y="98"/>
                  </a:cubicBezTo>
                  <a:cubicBezTo>
                    <a:pt x="65" y="99"/>
                    <a:pt x="66" y="99"/>
                    <a:pt x="66" y="99"/>
                  </a:cubicBezTo>
                  <a:cubicBezTo>
                    <a:pt x="74" y="96"/>
                    <a:pt x="74" y="96"/>
                    <a:pt x="74" y="96"/>
                  </a:cubicBezTo>
                  <a:cubicBezTo>
                    <a:pt x="75" y="96"/>
                    <a:pt x="75" y="95"/>
                    <a:pt x="75" y="95"/>
                  </a:cubicBezTo>
                  <a:cubicBezTo>
                    <a:pt x="74" y="93"/>
                    <a:pt x="74" y="93"/>
                    <a:pt x="74" y="93"/>
                  </a:cubicBezTo>
                  <a:cubicBezTo>
                    <a:pt x="74" y="93"/>
                    <a:pt x="74" y="92"/>
                    <a:pt x="74" y="92"/>
                  </a:cubicBezTo>
                  <a:cubicBezTo>
                    <a:pt x="76" y="91"/>
                    <a:pt x="78" y="89"/>
                    <a:pt x="80" y="88"/>
                  </a:cubicBezTo>
                  <a:cubicBezTo>
                    <a:pt x="81" y="88"/>
                    <a:pt x="81" y="88"/>
                    <a:pt x="81" y="88"/>
                  </a:cubicBezTo>
                  <a:cubicBezTo>
                    <a:pt x="83" y="89"/>
                    <a:pt x="83" y="89"/>
                    <a:pt x="83" y="89"/>
                  </a:cubicBezTo>
                  <a:cubicBezTo>
                    <a:pt x="83" y="90"/>
                    <a:pt x="83" y="90"/>
                    <a:pt x="84" y="89"/>
                  </a:cubicBezTo>
                  <a:cubicBezTo>
                    <a:pt x="90" y="83"/>
                    <a:pt x="90" y="83"/>
                    <a:pt x="90" y="83"/>
                  </a:cubicBezTo>
                  <a:cubicBezTo>
                    <a:pt x="90" y="83"/>
                    <a:pt x="90" y="82"/>
                    <a:pt x="90" y="82"/>
                  </a:cubicBezTo>
                  <a:cubicBezTo>
                    <a:pt x="89" y="81"/>
                    <a:pt x="89" y="81"/>
                    <a:pt x="89" y="81"/>
                  </a:cubicBezTo>
                  <a:cubicBezTo>
                    <a:pt x="88" y="81"/>
                    <a:pt x="88" y="80"/>
                    <a:pt x="89" y="80"/>
                  </a:cubicBezTo>
                  <a:cubicBezTo>
                    <a:pt x="90" y="78"/>
                    <a:pt x="91" y="76"/>
                    <a:pt x="92" y="74"/>
                  </a:cubicBezTo>
                  <a:cubicBezTo>
                    <a:pt x="92" y="74"/>
                    <a:pt x="93" y="74"/>
                    <a:pt x="93" y="74"/>
                  </a:cubicBezTo>
                  <a:cubicBezTo>
                    <a:pt x="95" y="75"/>
                    <a:pt x="95" y="75"/>
                    <a:pt x="95" y="75"/>
                  </a:cubicBezTo>
                  <a:cubicBezTo>
                    <a:pt x="95" y="75"/>
                    <a:pt x="96" y="75"/>
                    <a:pt x="96" y="74"/>
                  </a:cubicBezTo>
                  <a:cubicBezTo>
                    <a:pt x="99" y="66"/>
                    <a:pt x="99" y="66"/>
                    <a:pt x="99" y="66"/>
                  </a:cubicBezTo>
                  <a:cubicBezTo>
                    <a:pt x="100" y="66"/>
                    <a:pt x="99" y="65"/>
                    <a:pt x="99" y="65"/>
                  </a:cubicBezTo>
                  <a:cubicBezTo>
                    <a:pt x="97" y="64"/>
                    <a:pt x="97" y="64"/>
                    <a:pt x="97" y="64"/>
                  </a:cubicBezTo>
                  <a:cubicBezTo>
                    <a:pt x="97" y="64"/>
                    <a:pt x="97" y="64"/>
                    <a:pt x="97" y="63"/>
                  </a:cubicBezTo>
                  <a:cubicBezTo>
                    <a:pt x="97" y="61"/>
                    <a:pt x="98" y="59"/>
                    <a:pt x="98" y="57"/>
                  </a:cubicBezTo>
                  <a:cubicBezTo>
                    <a:pt x="98" y="56"/>
                    <a:pt x="99" y="56"/>
                    <a:pt x="99" y="56"/>
                  </a:cubicBezTo>
                  <a:cubicBezTo>
                    <a:pt x="101" y="56"/>
                    <a:pt x="101" y="56"/>
                    <a:pt x="101" y="56"/>
                  </a:cubicBezTo>
                  <a:cubicBezTo>
                    <a:pt x="101" y="56"/>
                    <a:pt x="102" y="55"/>
                    <a:pt x="102" y="55"/>
                  </a:cubicBezTo>
                  <a:cubicBezTo>
                    <a:pt x="102" y="46"/>
                    <a:pt x="102" y="46"/>
                    <a:pt x="102" y="46"/>
                  </a:cubicBezTo>
                  <a:cubicBezTo>
                    <a:pt x="102" y="46"/>
                    <a:pt x="101" y="45"/>
                    <a:pt x="101" y="45"/>
                  </a:cubicBezTo>
                  <a:moveTo>
                    <a:pt x="51" y="81"/>
                  </a:moveTo>
                  <a:cubicBezTo>
                    <a:pt x="34" y="81"/>
                    <a:pt x="21" y="67"/>
                    <a:pt x="21" y="51"/>
                  </a:cubicBezTo>
                  <a:cubicBezTo>
                    <a:pt x="21" y="34"/>
                    <a:pt x="34" y="20"/>
                    <a:pt x="51" y="20"/>
                  </a:cubicBezTo>
                  <a:cubicBezTo>
                    <a:pt x="68" y="20"/>
                    <a:pt x="81" y="34"/>
                    <a:pt x="81" y="51"/>
                  </a:cubicBezTo>
                  <a:cubicBezTo>
                    <a:pt x="81" y="67"/>
                    <a:pt x="68" y="81"/>
                    <a:pt x="51" y="81"/>
                  </a:cubicBezTo>
                </a:path>
              </a:pathLst>
            </a:custGeom>
            <a:solidFill>
              <a:srgbClr val="008272"/>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6" name="Freeform 126">
              <a:extLst>
                <a:ext uri="{FF2B5EF4-FFF2-40B4-BE49-F238E27FC236}">
                  <a16:creationId xmlns:a16="http://schemas.microsoft.com/office/drawing/2014/main" id="{CDCF25A2-E396-4B1A-88ED-BAAB797E98D3}"/>
                </a:ext>
              </a:extLst>
            </p:cNvPr>
            <p:cNvSpPr>
              <a:spLocks/>
            </p:cNvSpPr>
            <p:nvPr/>
          </p:nvSpPr>
          <p:spPr bwMode="auto">
            <a:xfrm>
              <a:off x="3883" y="2192"/>
              <a:ext cx="11" cy="14"/>
            </a:xfrm>
            <a:custGeom>
              <a:avLst/>
              <a:gdLst>
                <a:gd name="T0" fmla="*/ 5 w 5"/>
                <a:gd name="T1" fmla="*/ 0 h 7"/>
                <a:gd name="T2" fmla="*/ 5 w 5"/>
                <a:gd name="T3" fmla="*/ 0 h 7"/>
                <a:gd name="T4" fmla="*/ 0 w 5"/>
                <a:gd name="T5" fmla="*/ 7 h 7"/>
                <a:gd name="T6" fmla="*/ 0 w 5"/>
                <a:gd name="T7" fmla="*/ 7 h 7"/>
                <a:gd name="T8" fmla="*/ 5 w 5"/>
                <a:gd name="T9" fmla="*/ 0 h 7"/>
              </a:gdLst>
              <a:ahLst/>
              <a:cxnLst>
                <a:cxn ang="0">
                  <a:pos x="T0" y="T1"/>
                </a:cxn>
                <a:cxn ang="0">
                  <a:pos x="T2" y="T3"/>
                </a:cxn>
                <a:cxn ang="0">
                  <a:pos x="T4" y="T5"/>
                </a:cxn>
                <a:cxn ang="0">
                  <a:pos x="T6" y="T7"/>
                </a:cxn>
                <a:cxn ang="0">
                  <a:pos x="T8" y="T9"/>
                </a:cxn>
              </a:cxnLst>
              <a:rect l="0" t="0" r="r" b="b"/>
              <a:pathLst>
                <a:path w="5" h="7">
                  <a:moveTo>
                    <a:pt x="5" y="0"/>
                  </a:moveTo>
                  <a:cubicBezTo>
                    <a:pt x="5" y="0"/>
                    <a:pt x="5" y="0"/>
                    <a:pt x="5" y="0"/>
                  </a:cubicBezTo>
                  <a:cubicBezTo>
                    <a:pt x="4" y="3"/>
                    <a:pt x="2" y="5"/>
                    <a:pt x="0" y="7"/>
                  </a:cubicBezTo>
                  <a:cubicBezTo>
                    <a:pt x="0" y="7"/>
                    <a:pt x="0" y="7"/>
                    <a:pt x="0" y="7"/>
                  </a:cubicBezTo>
                  <a:cubicBezTo>
                    <a:pt x="2" y="5"/>
                    <a:pt x="4" y="3"/>
                    <a:pt x="5" y="0"/>
                  </a:cubicBezTo>
                </a:path>
              </a:pathLst>
            </a:custGeom>
            <a:solidFill>
              <a:srgbClr val="004E8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7" name="Freeform 127">
              <a:extLst>
                <a:ext uri="{FF2B5EF4-FFF2-40B4-BE49-F238E27FC236}">
                  <a16:creationId xmlns:a16="http://schemas.microsoft.com/office/drawing/2014/main" id="{92B82378-9F91-4183-82C4-8C251FCA24B1}"/>
                </a:ext>
              </a:extLst>
            </p:cNvPr>
            <p:cNvSpPr>
              <a:spLocks/>
            </p:cNvSpPr>
            <p:nvPr/>
          </p:nvSpPr>
          <p:spPr bwMode="auto">
            <a:xfrm>
              <a:off x="3883" y="2192"/>
              <a:ext cx="50" cy="39"/>
            </a:xfrm>
            <a:custGeom>
              <a:avLst/>
              <a:gdLst>
                <a:gd name="T0" fmla="*/ 8 w 24"/>
                <a:gd name="T1" fmla="*/ 0 h 19"/>
                <a:gd name="T2" fmla="*/ 5 w 24"/>
                <a:gd name="T3" fmla="*/ 0 h 19"/>
                <a:gd name="T4" fmla="*/ 0 w 24"/>
                <a:gd name="T5" fmla="*/ 7 h 19"/>
                <a:gd name="T6" fmla="*/ 17 w 24"/>
                <a:gd name="T7" fmla="*/ 19 h 19"/>
                <a:gd name="T8" fmla="*/ 18 w 24"/>
                <a:gd name="T9" fmla="*/ 18 h 19"/>
                <a:gd name="T10" fmla="*/ 18 w 24"/>
                <a:gd name="T11" fmla="*/ 18 h 19"/>
                <a:gd name="T12" fmla="*/ 18 w 24"/>
                <a:gd name="T13" fmla="*/ 17 h 19"/>
                <a:gd name="T14" fmla="*/ 17 w 24"/>
                <a:gd name="T15" fmla="*/ 16 h 19"/>
                <a:gd name="T16" fmla="*/ 16 w 24"/>
                <a:gd name="T17" fmla="*/ 15 h 19"/>
                <a:gd name="T18" fmla="*/ 17 w 24"/>
                <a:gd name="T19" fmla="*/ 15 h 19"/>
                <a:gd name="T20" fmla="*/ 20 w 24"/>
                <a:gd name="T21" fmla="*/ 9 h 19"/>
                <a:gd name="T22" fmla="*/ 21 w 24"/>
                <a:gd name="T23" fmla="*/ 9 h 19"/>
                <a:gd name="T24" fmla="*/ 21 w 24"/>
                <a:gd name="T25" fmla="*/ 9 h 19"/>
                <a:gd name="T26" fmla="*/ 23 w 24"/>
                <a:gd name="T27" fmla="*/ 10 h 19"/>
                <a:gd name="T28" fmla="*/ 23 w 24"/>
                <a:gd name="T29" fmla="*/ 10 h 19"/>
                <a:gd name="T30" fmla="*/ 24 w 24"/>
                <a:gd name="T31" fmla="*/ 9 h 19"/>
                <a:gd name="T32" fmla="*/ 24 w 24"/>
                <a:gd name="T33" fmla="*/ 8 h 19"/>
                <a:gd name="T34" fmla="*/ 8 w 2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9">
                  <a:moveTo>
                    <a:pt x="8" y="0"/>
                  </a:moveTo>
                  <a:cubicBezTo>
                    <a:pt x="5" y="0"/>
                    <a:pt x="5" y="0"/>
                    <a:pt x="5" y="0"/>
                  </a:cubicBezTo>
                  <a:cubicBezTo>
                    <a:pt x="4" y="3"/>
                    <a:pt x="2" y="5"/>
                    <a:pt x="0" y="7"/>
                  </a:cubicBezTo>
                  <a:cubicBezTo>
                    <a:pt x="17" y="19"/>
                    <a:pt x="17" y="19"/>
                    <a:pt x="17" y="19"/>
                  </a:cubicBezTo>
                  <a:cubicBezTo>
                    <a:pt x="18" y="18"/>
                    <a:pt x="18" y="18"/>
                    <a:pt x="18" y="18"/>
                  </a:cubicBezTo>
                  <a:cubicBezTo>
                    <a:pt x="18" y="18"/>
                    <a:pt x="18" y="18"/>
                    <a:pt x="18" y="18"/>
                  </a:cubicBezTo>
                  <a:cubicBezTo>
                    <a:pt x="18" y="17"/>
                    <a:pt x="18" y="17"/>
                    <a:pt x="18" y="17"/>
                  </a:cubicBezTo>
                  <a:cubicBezTo>
                    <a:pt x="17" y="16"/>
                    <a:pt x="17" y="16"/>
                    <a:pt x="17" y="16"/>
                  </a:cubicBezTo>
                  <a:cubicBezTo>
                    <a:pt x="16" y="16"/>
                    <a:pt x="16" y="15"/>
                    <a:pt x="16" y="15"/>
                  </a:cubicBezTo>
                  <a:cubicBezTo>
                    <a:pt x="16" y="15"/>
                    <a:pt x="16" y="15"/>
                    <a:pt x="17" y="15"/>
                  </a:cubicBezTo>
                  <a:cubicBezTo>
                    <a:pt x="18" y="13"/>
                    <a:pt x="19" y="11"/>
                    <a:pt x="20" y="9"/>
                  </a:cubicBezTo>
                  <a:cubicBezTo>
                    <a:pt x="20" y="9"/>
                    <a:pt x="21" y="9"/>
                    <a:pt x="21" y="9"/>
                  </a:cubicBezTo>
                  <a:cubicBezTo>
                    <a:pt x="21" y="9"/>
                    <a:pt x="21" y="9"/>
                    <a:pt x="21" y="9"/>
                  </a:cubicBezTo>
                  <a:cubicBezTo>
                    <a:pt x="23" y="10"/>
                    <a:pt x="23" y="10"/>
                    <a:pt x="23" y="10"/>
                  </a:cubicBezTo>
                  <a:cubicBezTo>
                    <a:pt x="23" y="10"/>
                    <a:pt x="23" y="10"/>
                    <a:pt x="23" y="10"/>
                  </a:cubicBezTo>
                  <a:cubicBezTo>
                    <a:pt x="24" y="10"/>
                    <a:pt x="24" y="9"/>
                    <a:pt x="24" y="9"/>
                  </a:cubicBezTo>
                  <a:cubicBezTo>
                    <a:pt x="24" y="8"/>
                    <a:pt x="24" y="8"/>
                    <a:pt x="24" y="8"/>
                  </a:cubicBezTo>
                  <a:cubicBezTo>
                    <a:pt x="8" y="0"/>
                    <a:pt x="8" y="0"/>
                    <a:pt x="8" y="0"/>
                  </a:cubicBezTo>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8" name="Freeform 128">
              <a:extLst>
                <a:ext uri="{FF2B5EF4-FFF2-40B4-BE49-F238E27FC236}">
                  <a16:creationId xmlns:a16="http://schemas.microsoft.com/office/drawing/2014/main" id="{14A65620-31D8-4313-847D-76D6F1D8330A}"/>
                </a:ext>
              </a:extLst>
            </p:cNvPr>
            <p:cNvSpPr>
              <a:spLocks noEditPoints="1"/>
            </p:cNvSpPr>
            <p:nvPr/>
          </p:nvSpPr>
          <p:spPr bwMode="auto">
            <a:xfrm>
              <a:off x="3811" y="2223"/>
              <a:ext cx="37" cy="33"/>
            </a:xfrm>
            <a:custGeom>
              <a:avLst/>
              <a:gdLst>
                <a:gd name="T0" fmla="*/ 1 w 18"/>
                <a:gd name="T1" fmla="*/ 16 h 16"/>
                <a:gd name="T2" fmla="*/ 0 w 18"/>
                <a:gd name="T3" fmla="*/ 16 h 16"/>
                <a:gd name="T4" fmla="*/ 0 w 18"/>
                <a:gd name="T5" fmla="*/ 16 h 16"/>
                <a:gd name="T6" fmla="*/ 1 w 18"/>
                <a:gd name="T7" fmla="*/ 16 h 16"/>
                <a:gd name="T8" fmla="*/ 1 w 18"/>
                <a:gd name="T9" fmla="*/ 16 h 16"/>
                <a:gd name="T10" fmla="*/ 18 w 18"/>
                <a:gd name="T11" fmla="*/ 0 h 16"/>
                <a:gd name="T12" fmla="*/ 14 w 18"/>
                <a:gd name="T13" fmla="*/ 1 h 16"/>
                <a:gd name="T14" fmla="*/ 14 w 18"/>
                <a:gd name="T15" fmla="*/ 1 h 16"/>
                <a:gd name="T16" fmla="*/ 14 w 18"/>
                <a:gd name="T17" fmla="*/ 1 h 16"/>
                <a:gd name="T18" fmla="*/ 18 w 18"/>
                <a:gd name="T19" fmla="*/ 0 h 16"/>
                <a:gd name="T20" fmla="*/ 18 w 18"/>
                <a:gd name="T21" fmla="*/ 0 h 16"/>
                <a:gd name="T22" fmla="*/ 7 w 18"/>
                <a:gd name="T23" fmla="*/ 0 h 16"/>
                <a:gd name="T24" fmla="*/ 7 w 18"/>
                <a:gd name="T25" fmla="*/ 0 h 16"/>
                <a:gd name="T26" fmla="*/ 14 w 18"/>
                <a:gd name="T27" fmla="*/ 1 h 16"/>
                <a:gd name="T28" fmla="*/ 7 w 18"/>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6">
                  <a:moveTo>
                    <a:pt x="1" y="16"/>
                  </a:moveTo>
                  <a:cubicBezTo>
                    <a:pt x="1" y="16"/>
                    <a:pt x="1" y="16"/>
                    <a:pt x="0" y="16"/>
                  </a:cubicBezTo>
                  <a:cubicBezTo>
                    <a:pt x="0" y="16"/>
                    <a:pt x="0" y="16"/>
                    <a:pt x="0" y="16"/>
                  </a:cubicBezTo>
                  <a:cubicBezTo>
                    <a:pt x="1" y="16"/>
                    <a:pt x="1" y="16"/>
                    <a:pt x="1" y="16"/>
                  </a:cubicBezTo>
                  <a:cubicBezTo>
                    <a:pt x="1" y="16"/>
                    <a:pt x="1" y="16"/>
                    <a:pt x="1" y="16"/>
                  </a:cubicBezTo>
                  <a:moveTo>
                    <a:pt x="18" y="0"/>
                  </a:moveTo>
                  <a:cubicBezTo>
                    <a:pt x="17" y="0"/>
                    <a:pt x="15" y="1"/>
                    <a:pt x="14" y="1"/>
                  </a:cubicBezTo>
                  <a:cubicBezTo>
                    <a:pt x="14" y="1"/>
                    <a:pt x="14" y="1"/>
                    <a:pt x="14" y="1"/>
                  </a:cubicBezTo>
                  <a:cubicBezTo>
                    <a:pt x="14" y="1"/>
                    <a:pt x="14" y="1"/>
                    <a:pt x="14" y="1"/>
                  </a:cubicBezTo>
                  <a:cubicBezTo>
                    <a:pt x="15" y="1"/>
                    <a:pt x="17" y="0"/>
                    <a:pt x="18" y="0"/>
                  </a:cubicBezTo>
                  <a:cubicBezTo>
                    <a:pt x="18" y="0"/>
                    <a:pt x="18" y="0"/>
                    <a:pt x="18" y="0"/>
                  </a:cubicBezTo>
                  <a:moveTo>
                    <a:pt x="7" y="0"/>
                  </a:moveTo>
                  <a:cubicBezTo>
                    <a:pt x="7" y="0"/>
                    <a:pt x="7" y="0"/>
                    <a:pt x="7" y="0"/>
                  </a:cubicBezTo>
                  <a:cubicBezTo>
                    <a:pt x="9" y="0"/>
                    <a:pt x="11" y="1"/>
                    <a:pt x="14" y="1"/>
                  </a:cubicBezTo>
                  <a:cubicBezTo>
                    <a:pt x="11" y="1"/>
                    <a:pt x="9" y="0"/>
                    <a:pt x="7" y="0"/>
                  </a:cubicBezTo>
                </a:path>
              </a:pathLst>
            </a:custGeom>
            <a:solidFill>
              <a:srgbClr val="004E8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19" name="Freeform 129">
              <a:extLst>
                <a:ext uri="{FF2B5EF4-FFF2-40B4-BE49-F238E27FC236}">
                  <a16:creationId xmlns:a16="http://schemas.microsoft.com/office/drawing/2014/main" id="{43C137C9-D5D3-4C8A-BB42-1EB9BDA92C58}"/>
                </a:ext>
              </a:extLst>
            </p:cNvPr>
            <p:cNvSpPr>
              <a:spLocks/>
            </p:cNvSpPr>
            <p:nvPr/>
          </p:nvSpPr>
          <p:spPr bwMode="auto">
            <a:xfrm>
              <a:off x="3811" y="2223"/>
              <a:ext cx="37" cy="43"/>
            </a:xfrm>
            <a:custGeom>
              <a:avLst/>
              <a:gdLst>
                <a:gd name="T0" fmla="*/ 7 w 18"/>
                <a:gd name="T1" fmla="*/ 0 h 21"/>
                <a:gd name="T2" fmla="*/ 0 w 18"/>
                <a:gd name="T3" fmla="*/ 16 h 21"/>
                <a:gd name="T4" fmla="*/ 1 w 18"/>
                <a:gd name="T5" fmla="*/ 16 h 21"/>
                <a:gd name="T6" fmla="*/ 1 w 18"/>
                <a:gd name="T7" fmla="*/ 16 h 21"/>
                <a:gd name="T8" fmla="*/ 1 w 18"/>
                <a:gd name="T9" fmla="*/ 16 h 21"/>
                <a:gd name="T10" fmla="*/ 8 w 18"/>
                <a:gd name="T11" fmla="*/ 18 h 21"/>
                <a:gd name="T12" fmla="*/ 9 w 18"/>
                <a:gd name="T13" fmla="*/ 19 h 21"/>
                <a:gd name="T14" fmla="*/ 9 w 18"/>
                <a:gd name="T15" fmla="*/ 20 h 21"/>
                <a:gd name="T16" fmla="*/ 10 w 18"/>
                <a:gd name="T17" fmla="*/ 21 h 21"/>
                <a:gd name="T18" fmla="*/ 12 w 18"/>
                <a:gd name="T19" fmla="*/ 21 h 21"/>
                <a:gd name="T20" fmla="*/ 18 w 18"/>
                <a:gd name="T21" fmla="*/ 0 h 21"/>
                <a:gd name="T22" fmla="*/ 14 w 18"/>
                <a:gd name="T23" fmla="*/ 1 h 21"/>
                <a:gd name="T24" fmla="*/ 14 w 18"/>
                <a:gd name="T25" fmla="*/ 1 h 21"/>
                <a:gd name="T26" fmla="*/ 14 w 18"/>
                <a:gd name="T27" fmla="*/ 1 h 21"/>
                <a:gd name="T28" fmla="*/ 7 w 18"/>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1">
                  <a:moveTo>
                    <a:pt x="7" y="0"/>
                  </a:moveTo>
                  <a:cubicBezTo>
                    <a:pt x="0" y="16"/>
                    <a:pt x="0" y="16"/>
                    <a:pt x="0" y="16"/>
                  </a:cubicBezTo>
                  <a:cubicBezTo>
                    <a:pt x="1" y="16"/>
                    <a:pt x="1" y="16"/>
                    <a:pt x="1" y="16"/>
                  </a:cubicBezTo>
                  <a:cubicBezTo>
                    <a:pt x="1" y="16"/>
                    <a:pt x="1" y="16"/>
                    <a:pt x="1" y="16"/>
                  </a:cubicBezTo>
                  <a:cubicBezTo>
                    <a:pt x="1" y="16"/>
                    <a:pt x="1" y="16"/>
                    <a:pt x="1" y="16"/>
                  </a:cubicBezTo>
                  <a:cubicBezTo>
                    <a:pt x="3" y="17"/>
                    <a:pt x="6" y="17"/>
                    <a:pt x="8" y="18"/>
                  </a:cubicBezTo>
                  <a:cubicBezTo>
                    <a:pt x="9" y="18"/>
                    <a:pt x="9" y="18"/>
                    <a:pt x="9" y="19"/>
                  </a:cubicBezTo>
                  <a:cubicBezTo>
                    <a:pt x="9" y="20"/>
                    <a:pt x="9" y="20"/>
                    <a:pt x="9" y="20"/>
                  </a:cubicBezTo>
                  <a:cubicBezTo>
                    <a:pt x="9" y="21"/>
                    <a:pt x="9" y="21"/>
                    <a:pt x="10" y="21"/>
                  </a:cubicBezTo>
                  <a:cubicBezTo>
                    <a:pt x="12" y="21"/>
                    <a:pt x="12" y="21"/>
                    <a:pt x="12" y="21"/>
                  </a:cubicBezTo>
                  <a:cubicBezTo>
                    <a:pt x="18" y="0"/>
                    <a:pt x="18" y="0"/>
                    <a:pt x="18" y="0"/>
                  </a:cubicBezTo>
                  <a:cubicBezTo>
                    <a:pt x="17" y="0"/>
                    <a:pt x="15" y="1"/>
                    <a:pt x="14" y="1"/>
                  </a:cubicBezTo>
                  <a:cubicBezTo>
                    <a:pt x="14" y="1"/>
                    <a:pt x="14" y="1"/>
                    <a:pt x="14" y="1"/>
                  </a:cubicBezTo>
                  <a:cubicBezTo>
                    <a:pt x="14" y="1"/>
                    <a:pt x="14" y="1"/>
                    <a:pt x="14" y="1"/>
                  </a:cubicBezTo>
                  <a:cubicBezTo>
                    <a:pt x="11" y="1"/>
                    <a:pt x="9" y="0"/>
                    <a:pt x="7" y="0"/>
                  </a:cubicBezTo>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0" name="Freeform 130">
              <a:extLst>
                <a:ext uri="{FF2B5EF4-FFF2-40B4-BE49-F238E27FC236}">
                  <a16:creationId xmlns:a16="http://schemas.microsoft.com/office/drawing/2014/main" id="{89C67A1B-537F-4D41-946D-0D306743186C}"/>
                </a:ext>
              </a:extLst>
            </p:cNvPr>
            <p:cNvSpPr>
              <a:spLocks noEditPoints="1"/>
            </p:cNvSpPr>
            <p:nvPr/>
          </p:nvSpPr>
          <p:spPr bwMode="auto">
            <a:xfrm>
              <a:off x="3826" y="2062"/>
              <a:ext cx="22" cy="39"/>
            </a:xfrm>
            <a:custGeom>
              <a:avLst/>
              <a:gdLst>
                <a:gd name="T0" fmla="*/ 7 w 11"/>
                <a:gd name="T1" fmla="*/ 18 h 19"/>
                <a:gd name="T2" fmla="*/ 11 w 11"/>
                <a:gd name="T3" fmla="*/ 19 h 19"/>
                <a:gd name="T4" fmla="*/ 11 w 11"/>
                <a:gd name="T5" fmla="*/ 19 h 19"/>
                <a:gd name="T6" fmla="*/ 7 w 11"/>
                <a:gd name="T7" fmla="*/ 18 h 19"/>
                <a:gd name="T8" fmla="*/ 7 w 11"/>
                <a:gd name="T9" fmla="*/ 18 h 19"/>
                <a:gd name="T10" fmla="*/ 0 w 11"/>
                <a:gd name="T11" fmla="*/ 19 h 19"/>
                <a:gd name="T12" fmla="*/ 0 w 11"/>
                <a:gd name="T13" fmla="*/ 19 h 19"/>
                <a:gd name="T14" fmla="*/ 7 w 11"/>
                <a:gd name="T15" fmla="*/ 18 h 19"/>
                <a:gd name="T16" fmla="*/ 2 w 11"/>
                <a:gd name="T17" fmla="*/ 0 h 19"/>
                <a:gd name="T18" fmla="*/ 1 w 11"/>
                <a:gd name="T19" fmla="*/ 1 h 19"/>
                <a:gd name="T20" fmla="*/ 1 w 11"/>
                <a:gd name="T21" fmla="*/ 1 h 19"/>
                <a:gd name="T22" fmla="*/ 1 w 11"/>
                <a:gd name="T23" fmla="*/ 1 h 19"/>
                <a:gd name="T24" fmla="*/ 2 w 11"/>
                <a:gd name="T25" fmla="*/ 0 h 19"/>
                <a:gd name="T26" fmla="*/ 2 w 11"/>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9">
                  <a:moveTo>
                    <a:pt x="7" y="18"/>
                  </a:moveTo>
                  <a:cubicBezTo>
                    <a:pt x="8" y="18"/>
                    <a:pt x="9" y="19"/>
                    <a:pt x="11" y="19"/>
                  </a:cubicBezTo>
                  <a:cubicBezTo>
                    <a:pt x="11" y="19"/>
                    <a:pt x="11" y="19"/>
                    <a:pt x="11" y="19"/>
                  </a:cubicBezTo>
                  <a:cubicBezTo>
                    <a:pt x="9" y="19"/>
                    <a:pt x="8" y="18"/>
                    <a:pt x="7" y="18"/>
                  </a:cubicBezTo>
                  <a:moveTo>
                    <a:pt x="7" y="18"/>
                  </a:moveTo>
                  <a:cubicBezTo>
                    <a:pt x="5" y="18"/>
                    <a:pt x="3" y="19"/>
                    <a:pt x="0" y="19"/>
                  </a:cubicBezTo>
                  <a:cubicBezTo>
                    <a:pt x="0" y="19"/>
                    <a:pt x="0" y="19"/>
                    <a:pt x="0" y="19"/>
                  </a:cubicBezTo>
                  <a:cubicBezTo>
                    <a:pt x="3" y="19"/>
                    <a:pt x="5" y="18"/>
                    <a:pt x="7" y="18"/>
                  </a:cubicBezTo>
                  <a:moveTo>
                    <a:pt x="2" y="0"/>
                  </a:moveTo>
                  <a:cubicBezTo>
                    <a:pt x="2" y="1"/>
                    <a:pt x="2" y="1"/>
                    <a:pt x="1" y="1"/>
                  </a:cubicBezTo>
                  <a:cubicBezTo>
                    <a:pt x="1" y="1"/>
                    <a:pt x="1" y="1"/>
                    <a:pt x="1" y="1"/>
                  </a:cubicBezTo>
                  <a:cubicBezTo>
                    <a:pt x="1" y="1"/>
                    <a:pt x="1" y="1"/>
                    <a:pt x="1" y="1"/>
                  </a:cubicBezTo>
                  <a:cubicBezTo>
                    <a:pt x="2" y="1"/>
                    <a:pt x="2" y="1"/>
                    <a:pt x="2" y="0"/>
                  </a:cubicBezTo>
                  <a:cubicBezTo>
                    <a:pt x="2" y="0"/>
                    <a:pt x="2" y="0"/>
                    <a:pt x="2" y="0"/>
                  </a:cubicBezTo>
                </a:path>
              </a:pathLst>
            </a:custGeom>
            <a:solidFill>
              <a:srgbClr val="004E8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1" name="Freeform 131">
              <a:extLst>
                <a:ext uri="{FF2B5EF4-FFF2-40B4-BE49-F238E27FC236}">
                  <a16:creationId xmlns:a16="http://schemas.microsoft.com/office/drawing/2014/main" id="{BF78E0C6-3C27-4ED3-A6CB-70A4314A166C}"/>
                </a:ext>
              </a:extLst>
            </p:cNvPr>
            <p:cNvSpPr>
              <a:spLocks/>
            </p:cNvSpPr>
            <p:nvPr/>
          </p:nvSpPr>
          <p:spPr bwMode="auto">
            <a:xfrm>
              <a:off x="3817" y="2058"/>
              <a:ext cx="31" cy="43"/>
            </a:xfrm>
            <a:custGeom>
              <a:avLst/>
              <a:gdLst>
                <a:gd name="T0" fmla="*/ 10 w 15"/>
                <a:gd name="T1" fmla="*/ 0 h 21"/>
                <a:gd name="T2" fmla="*/ 7 w 15"/>
                <a:gd name="T3" fmla="*/ 0 h 21"/>
                <a:gd name="T4" fmla="*/ 6 w 15"/>
                <a:gd name="T5" fmla="*/ 1 h 21"/>
                <a:gd name="T6" fmla="*/ 6 w 15"/>
                <a:gd name="T7" fmla="*/ 2 h 21"/>
                <a:gd name="T8" fmla="*/ 6 w 15"/>
                <a:gd name="T9" fmla="*/ 2 h 21"/>
                <a:gd name="T10" fmla="*/ 5 w 15"/>
                <a:gd name="T11" fmla="*/ 3 h 21"/>
                <a:gd name="T12" fmla="*/ 5 w 15"/>
                <a:gd name="T13" fmla="*/ 3 h 21"/>
                <a:gd name="T14" fmla="*/ 0 w 15"/>
                <a:gd name="T15" fmla="*/ 4 h 21"/>
                <a:gd name="T16" fmla="*/ 4 w 15"/>
                <a:gd name="T17" fmla="*/ 21 h 21"/>
                <a:gd name="T18" fmla="*/ 11 w 15"/>
                <a:gd name="T19" fmla="*/ 20 h 21"/>
                <a:gd name="T20" fmla="*/ 11 w 15"/>
                <a:gd name="T21" fmla="*/ 20 h 21"/>
                <a:gd name="T22" fmla="*/ 11 w 15"/>
                <a:gd name="T23" fmla="*/ 20 h 21"/>
                <a:gd name="T24" fmla="*/ 15 w 15"/>
                <a:gd name="T25" fmla="*/ 21 h 21"/>
                <a:gd name="T26" fmla="*/ 10 w 15"/>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1">
                  <a:moveTo>
                    <a:pt x="10" y="0"/>
                  </a:moveTo>
                  <a:cubicBezTo>
                    <a:pt x="7" y="0"/>
                    <a:pt x="7" y="0"/>
                    <a:pt x="7" y="0"/>
                  </a:cubicBezTo>
                  <a:cubicBezTo>
                    <a:pt x="6" y="0"/>
                    <a:pt x="6" y="0"/>
                    <a:pt x="6" y="1"/>
                  </a:cubicBezTo>
                  <a:cubicBezTo>
                    <a:pt x="6" y="2"/>
                    <a:pt x="6" y="2"/>
                    <a:pt x="6" y="2"/>
                  </a:cubicBezTo>
                  <a:cubicBezTo>
                    <a:pt x="6" y="2"/>
                    <a:pt x="6" y="2"/>
                    <a:pt x="6" y="2"/>
                  </a:cubicBezTo>
                  <a:cubicBezTo>
                    <a:pt x="6" y="3"/>
                    <a:pt x="6" y="3"/>
                    <a:pt x="5" y="3"/>
                  </a:cubicBezTo>
                  <a:cubicBezTo>
                    <a:pt x="5" y="3"/>
                    <a:pt x="5" y="3"/>
                    <a:pt x="5" y="3"/>
                  </a:cubicBezTo>
                  <a:cubicBezTo>
                    <a:pt x="3" y="4"/>
                    <a:pt x="2" y="4"/>
                    <a:pt x="0" y="4"/>
                  </a:cubicBezTo>
                  <a:cubicBezTo>
                    <a:pt x="4" y="21"/>
                    <a:pt x="4" y="21"/>
                    <a:pt x="4" y="21"/>
                  </a:cubicBezTo>
                  <a:cubicBezTo>
                    <a:pt x="7" y="21"/>
                    <a:pt x="9" y="20"/>
                    <a:pt x="11" y="20"/>
                  </a:cubicBezTo>
                  <a:cubicBezTo>
                    <a:pt x="11" y="20"/>
                    <a:pt x="11" y="20"/>
                    <a:pt x="11" y="20"/>
                  </a:cubicBezTo>
                  <a:cubicBezTo>
                    <a:pt x="11" y="20"/>
                    <a:pt x="11" y="20"/>
                    <a:pt x="11" y="20"/>
                  </a:cubicBezTo>
                  <a:cubicBezTo>
                    <a:pt x="12" y="20"/>
                    <a:pt x="13" y="21"/>
                    <a:pt x="15" y="21"/>
                  </a:cubicBezTo>
                  <a:cubicBezTo>
                    <a:pt x="10" y="0"/>
                    <a:pt x="10" y="0"/>
                    <a:pt x="10" y="0"/>
                  </a:cubicBezTo>
                </a:path>
              </a:pathLst>
            </a:custGeom>
            <a:solidFill>
              <a:srgbClr val="008272">
                <a:lumMod val="50000"/>
              </a:srgbClr>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2" name="Freeform 132">
              <a:extLst>
                <a:ext uri="{FF2B5EF4-FFF2-40B4-BE49-F238E27FC236}">
                  <a16:creationId xmlns:a16="http://schemas.microsoft.com/office/drawing/2014/main" id="{8A8ABCEA-5062-44DB-963D-6BBB36FD28A1}"/>
                </a:ext>
              </a:extLst>
            </p:cNvPr>
            <p:cNvSpPr>
              <a:spLocks noEditPoints="1"/>
            </p:cNvSpPr>
            <p:nvPr/>
          </p:nvSpPr>
          <p:spPr bwMode="auto">
            <a:xfrm>
              <a:off x="3667" y="1990"/>
              <a:ext cx="346" cy="344"/>
            </a:xfrm>
            <a:custGeom>
              <a:avLst/>
              <a:gdLst>
                <a:gd name="T0" fmla="*/ 152 w 168"/>
                <a:gd name="T1" fmla="*/ 45 h 167"/>
                <a:gd name="T2" fmla="*/ 148 w 168"/>
                <a:gd name="T3" fmla="*/ 33 h 167"/>
                <a:gd name="T4" fmla="*/ 136 w 168"/>
                <a:gd name="T5" fmla="*/ 21 h 167"/>
                <a:gd name="T6" fmla="*/ 125 w 168"/>
                <a:gd name="T7" fmla="*/ 17 h 167"/>
                <a:gd name="T8" fmla="*/ 123 w 168"/>
                <a:gd name="T9" fmla="*/ 9 h 167"/>
                <a:gd name="T10" fmla="*/ 109 w 168"/>
                <a:gd name="T11" fmla="*/ 6 h 167"/>
                <a:gd name="T12" fmla="*/ 95 w 168"/>
                <a:gd name="T13" fmla="*/ 3 h 167"/>
                <a:gd name="T14" fmla="*/ 81 w 168"/>
                <a:gd name="T15" fmla="*/ 0 h 167"/>
                <a:gd name="T16" fmla="*/ 75 w 168"/>
                <a:gd name="T17" fmla="*/ 5 h 167"/>
                <a:gd name="T18" fmla="*/ 63 w 168"/>
                <a:gd name="T19" fmla="*/ 5 h 167"/>
                <a:gd name="T20" fmla="*/ 47 w 168"/>
                <a:gd name="T21" fmla="*/ 11 h 167"/>
                <a:gd name="T22" fmla="*/ 39 w 168"/>
                <a:gd name="T23" fmla="*/ 19 h 167"/>
                <a:gd name="T24" fmla="*/ 30 w 168"/>
                <a:gd name="T25" fmla="*/ 19 h 167"/>
                <a:gd name="T26" fmla="*/ 22 w 168"/>
                <a:gd name="T27" fmla="*/ 35 h 167"/>
                <a:gd name="T28" fmla="*/ 13 w 168"/>
                <a:gd name="T29" fmla="*/ 43 h 167"/>
                <a:gd name="T30" fmla="*/ 7 w 168"/>
                <a:gd name="T31" fmla="*/ 59 h 167"/>
                <a:gd name="T32" fmla="*/ 7 w 168"/>
                <a:gd name="T33" fmla="*/ 70 h 167"/>
                <a:gd name="T34" fmla="*/ 0 w 168"/>
                <a:gd name="T35" fmla="*/ 76 h 167"/>
                <a:gd name="T36" fmla="*/ 3 w 168"/>
                <a:gd name="T37" fmla="*/ 90 h 167"/>
                <a:gd name="T38" fmla="*/ 6 w 168"/>
                <a:gd name="T39" fmla="*/ 105 h 167"/>
                <a:gd name="T40" fmla="*/ 8 w 168"/>
                <a:gd name="T41" fmla="*/ 119 h 167"/>
                <a:gd name="T42" fmla="*/ 16 w 168"/>
                <a:gd name="T43" fmla="*/ 122 h 167"/>
                <a:gd name="T44" fmla="*/ 20 w 168"/>
                <a:gd name="T45" fmla="*/ 134 h 167"/>
                <a:gd name="T46" fmla="*/ 32 w 168"/>
                <a:gd name="T47" fmla="*/ 146 h 167"/>
                <a:gd name="T48" fmla="*/ 43 w 168"/>
                <a:gd name="T49" fmla="*/ 150 h 167"/>
                <a:gd name="T50" fmla="*/ 45 w 168"/>
                <a:gd name="T51" fmla="*/ 158 h 167"/>
                <a:gd name="T52" fmla="*/ 59 w 168"/>
                <a:gd name="T53" fmla="*/ 161 h 167"/>
                <a:gd name="T54" fmla="*/ 73 w 168"/>
                <a:gd name="T55" fmla="*/ 164 h 167"/>
                <a:gd name="T56" fmla="*/ 87 w 168"/>
                <a:gd name="T57" fmla="*/ 167 h 167"/>
                <a:gd name="T58" fmla="*/ 93 w 168"/>
                <a:gd name="T59" fmla="*/ 162 h 167"/>
                <a:gd name="T60" fmla="*/ 106 w 168"/>
                <a:gd name="T61" fmla="*/ 162 h 167"/>
                <a:gd name="T62" fmla="*/ 121 w 168"/>
                <a:gd name="T63" fmla="*/ 156 h 167"/>
                <a:gd name="T64" fmla="*/ 130 w 168"/>
                <a:gd name="T65" fmla="*/ 148 h 167"/>
                <a:gd name="T66" fmla="*/ 138 w 168"/>
                <a:gd name="T67" fmla="*/ 148 h 167"/>
                <a:gd name="T68" fmla="*/ 146 w 168"/>
                <a:gd name="T69" fmla="*/ 132 h 167"/>
                <a:gd name="T70" fmla="*/ 155 w 168"/>
                <a:gd name="T71" fmla="*/ 124 h 167"/>
                <a:gd name="T72" fmla="*/ 161 w 168"/>
                <a:gd name="T73" fmla="*/ 108 h 167"/>
                <a:gd name="T74" fmla="*/ 162 w 168"/>
                <a:gd name="T75" fmla="*/ 97 h 167"/>
                <a:gd name="T76" fmla="*/ 168 w 168"/>
                <a:gd name="T77" fmla="*/ 91 h 167"/>
                <a:gd name="T78" fmla="*/ 165 w 168"/>
                <a:gd name="T79" fmla="*/ 77 h 167"/>
                <a:gd name="T80" fmla="*/ 162 w 168"/>
                <a:gd name="T81" fmla="*/ 62 h 167"/>
                <a:gd name="T82" fmla="*/ 160 w 168"/>
                <a:gd name="T83" fmla="*/ 48 h 167"/>
                <a:gd name="T84" fmla="*/ 91 w 168"/>
                <a:gd name="T85" fmla="*/ 83 h 167"/>
                <a:gd name="T86" fmla="*/ 80 w 168"/>
                <a:gd name="T87" fmla="*/ 78 h 167"/>
                <a:gd name="T88" fmla="*/ 57 w 168"/>
                <a:gd name="T89" fmla="*/ 38 h 167"/>
                <a:gd name="T90" fmla="*/ 70 w 168"/>
                <a:gd name="T91" fmla="*/ 94 h 167"/>
                <a:gd name="T92" fmla="*/ 25 w 168"/>
                <a:gd name="T93" fmla="*/ 109 h 167"/>
                <a:gd name="T94" fmla="*/ 70 w 168"/>
                <a:gd name="T95" fmla="*/ 138 h 167"/>
                <a:gd name="T96" fmla="*/ 95 w 168"/>
                <a:gd name="T97" fmla="*/ 98 h 167"/>
                <a:gd name="T98" fmla="*/ 108 w 168"/>
                <a:gd name="T99" fmla="*/ 145 h 167"/>
                <a:gd name="T100" fmla="*/ 100 w 168"/>
                <a:gd name="T101" fmla="*/ 77 h 167"/>
                <a:gd name="T102" fmla="*/ 80 w 168"/>
                <a:gd name="T103" fmla="*/ 21 h 167"/>
                <a:gd name="T104" fmla="*/ 138 w 168"/>
                <a:gd name="T105" fmla="*/ 9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8" h="167">
                  <a:moveTo>
                    <a:pt x="156" y="46"/>
                  </a:moveTo>
                  <a:cubicBezTo>
                    <a:pt x="156" y="46"/>
                    <a:pt x="156" y="46"/>
                    <a:pt x="156" y="46"/>
                  </a:cubicBezTo>
                  <a:cubicBezTo>
                    <a:pt x="155" y="47"/>
                    <a:pt x="153" y="46"/>
                    <a:pt x="152" y="45"/>
                  </a:cubicBezTo>
                  <a:cubicBezTo>
                    <a:pt x="151" y="42"/>
                    <a:pt x="149" y="40"/>
                    <a:pt x="148" y="37"/>
                  </a:cubicBezTo>
                  <a:cubicBezTo>
                    <a:pt x="147" y="36"/>
                    <a:pt x="147" y="34"/>
                    <a:pt x="148" y="33"/>
                  </a:cubicBezTo>
                  <a:cubicBezTo>
                    <a:pt x="148" y="33"/>
                    <a:pt x="148" y="33"/>
                    <a:pt x="148" y="33"/>
                  </a:cubicBezTo>
                  <a:cubicBezTo>
                    <a:pt x="149" y="32"/>
                    <a:pt x="149" y="30"/>
                    <a:pt x="148" y="29"/>
                  </a:cubicBezTo>
                  <a:cubicBezTo>
                    <a:pt x="140" y="21"/>
                    <a:pt x="140" y="21"/>
                    <a:pt x="140" y="21"/>
                  </a:cubicBezTo>
                  <a:cubicBezTo>
                    <a:pt x="139" y="20"/>
                    <a:pt x="137" y="20"/>
                    <a:pt x="136" y="21"/>
                  </a:cubicBezTo>
                  <a:cubicBezTo>
                    <a:pt x="136" y="21"/>
                    <a:pt x="136" y="21"/>
                    <a:pt x="136" y="21"/>
                  </a:cubicBezTo>
                  <a:cubicBezTo>
                    <a:pt x="135" y="22"/>
                    <a:pt x="133" y="22"/>
                    <a:pt x="132" y="21"/>
                  </a:cubicBezTo>
                  <a:cubicBezTo>
                    <a:pt x="130" y="20"/>
                    <a:pt x="128" y="18"/>
                    <a:pt x="125" y="17"/>
                  </a:cubicBezTo>
                  <a:cubicBezTo>
                    <a:pt x="124" y="16"/>
                    <a:pt x="124" y="14"/>
                    <a:pt x="124" y="13"/>
                  </a:cubicBezTo>
                  <a:cubicBezTo>
                    <a:pt x="124" y="13"/>
                    <a:pt x="124" y="13"/>
                    <a:pt x="124" y="13"/>
                  </a:cubicBezTo>
                  <a:cubicBezTo>
                    <a:pt x="125" y="11"/>
                    <a:pt x="124" y="10"/>
                    <a:pt x="123" y="9"/>
                  </a:cubicBezTo>
                  <a:cubicBezTo>
                    <a:pt x="113" y="5"/>
                    <a:pt x="113" y="5"/>
                    <a:pt x="113" y="5"/>
                  </a:cubicBezTo>
                  <a:cubicBezTo>
                    <a:pt x="111" y="4"/>
                    <a:pt x="109" y="5"/>
                    <a:pt x="109" y="6"/>
                  </a:cubicBezTo>
                  <a:cubicBezTo>
                    <a:pt x="109" y="6"/>
                    <a:pt x="109" y="6"/>
                    <a:pt x="109" y="6"/>
                  </a:cubicBezTo>
                  <a:cubicBezTo>
                    <a:pt x="108" y="8"/>
                    <a:pt x="106" y="8"/>
                    <a:pt x="105" y="8"/>
                  </a:cubicBezTo>
                  <a:cubicBezTo>
                    <a:pt x="102" y="7"/>
                    <a:pt x="100" y="6"/>
                    <a:pt x="97" y="6"/>
                  </a:cubicBezTo>
                  <a:cubicBezTo>
                    <a:pt x="96" y="6"/>
                    <a:pt x="95" y="5"/>
                    <a:pt x="95" y="3"/>
                  </a:cubicBezTo>
                  <a:cubicBezTo>
                    <a:pt x="95" y="3"/>
                    <a:pt x="95" y="3"/>
                    <a:pt x="95" y="3"/>
                  </a:cubicBezTo>
                  <a:cubicBezTo>
                    <a:pt x="95" y="1"/>
                    <a:pt x="93" y="0"/>
                    <a:pt x="92" y="0"/>
                  </a:cubicBezTo>
                  <a:cubicBezTo>
                    <a:pt x="81" y="0"/>
                    <a:pt x="81" y="0"/>
                    <a:pt x="81" y="0"/>
                  </a:cubicBezTo>
                  <a:cubicBezTo>
                    <a:pt x="79" y="0"/>
                    <a:pt x="78" y="1"/>
                    <a:pt x="78" y="3"/>
                  </a:cubicBezTo>
                  <a:cubicBezTo>
                    <a:pt x="78" y="3"/>
                    <a:pt x="78" y="3"/>
                    <a:pt x="78" y="3"/>
                  </a:cubicBezTo>
                  <a:cubicBezTo>
                    <a:pt x="78" y="4"/>
                    <a:pt x="76" y="5"/>
                    <a:pt x="75" y="5"/>
                  </a:cubicBezTo>
                  <a:cubicBezTo>
                    <a:pt x="72" y="6"/>
                    <a:pt x="69" y="6"/>
                    <a:pt x="66" y="7"/>
                  </a:cubicBezTo>
                  <a:cubicBezTo>
                    <a:pt x="65" y="7"/>
                    <a:pt x="63" y="7"/>
                    <a:pt x="63" y="5"/>
                  </a:cubicBezTo>
                  <a:cubicBezTo>
                    <a:pt x="63" y="5"/>
                    <a:pt x="63" y="5"/>
                    <a:pt x="63" y="5"/>
                  </a:cubicBezTo>
                  <a:cubicBezTo>
                    <a:pt x="62" y="4"/>
                    <a:pt x="60" y="3"/>
                    <a:pt x="59" y="4"/>
                  </a:cubicBezTo>
                  <a:cubicBezTo>
                    <a:pt x="48" y="8"/>
                    <a:pt x="48" y="8"/>
                    <a:pt x="48" y="8"/>
                  </a:cubicBezTo>
                  <a:cubicBezTo>
                    <a:pt x="47" y="8"/>
                    <a:pt x="46" y="10"/>
                    <a:pt x="47" y="11"/>
                  </a:cubicBezTo>
                  <a:cubicBezTo>
                    <a:pt x="47" y="11"/>
                    <a:pt x="47" y="11"/>
                    <a:pt x="47" y="11"/>
                  </a:cubicBezTo>
                  <a:cubicBezTo>
                    <a:pt x="47" y="13"/>
                    <a:pt x="47" y="14"/>
                    <a:pt x="45" y="15"/>
                  </a:cubicBezTo>
                  <a:cubicBezTo>
                    <a:pt x="43" y="16"/>
                    <a:pt x="41" y="18"/>
                    <a:pt x="39" y="19"/>
                  </a:cubicBezTo>
                  <a:cubicBezTo>
                    <a:pt x="37" y="20"/>
                    <a:pt x="36" y="20"/>
                    <a:pt x="35" y="19"/>
                  </a:cubicBezTo>
                  <a:cubicBezTo>
                    <a:pt x="35" y="19"/>
                    <a:pt x="35" y="19"/>
                    <a:pt x="35" y="19"/>
                  </a:cubicBezTo>
                  <a:cubicBezTo>
                    <a:pt x="33" y="18"/>
                    <a:pt x="32" y="18"/>
                    <a:pt x="30" y="19"/>
                  </a:cubicBezTo>
                  <a:cubicBezTo>
                    <a:pt x="22" y="27"/>
                    <a:pt x="22" y="27"/>
                    <a:pt x="22" y="27"/>
                  </a:cubicBezTo>
                  <a:cubicBezTo>
                    <a:pt x="21" y="28"/>
                    <a:pt x="21" y="30"/>
                    <a:pt x="22" y="31"/>
                  </a:cubicBezTo>
                  <a:cubicBezTo>
                    <a:pt x="23" y="32"/>
                    <a:pt x="23" y="34"/>
                    <a:pt x="22" y="35"/>
                  </a:cubicBezTo>
                  <a:cubicBezTo>
                    <a:pt x="21" y="37"/>
                    <a:pt x="19" y="40"/>
                    <a:pt x="17" y="42"/>
                  </a:cubicBezTo>
                  <a:cubicBezTo>
                    <a:pt x="16" y="43"/>
                    <a:pt x="15" y="44"/>
                    <a:pt x="13" y="43"/>
                  </a:cubicBezTo>
                  <a:cubicBezTo>
                    <a:pt x="13" y="43"/>
                    <a:pt x="13" y="43"/>
                    <a:pt x="13" y="43"/>
                  </a:cubicBezTo>
                  <a:cubicBezTo>
                    <a:pt x="12" y="43"/>
                    <a:pt x="10" y="43"/>
                    <a:pt x="10" y="45"/>
                  </a:cubicBezTo>
                  <a:cubicBezTo>
                    <a:pt x="5" y="55"/>
                    <a:pt x="5" y="55"/>
                    <a:pt x="5" y="55"/>
                  </a:cubicBezTo>
                  <a:cubicBezTo>
                    <a:pt x="4" y="57"/>
                    <a:pt x="5" y="58"/>
                    <a:pt x="7" y="59"/>
                  </a:cubicBezTo>
                  <a:cubicBezTo>
                    <a:pt x="7" y="59"/>
                    <a:pt x="7" y="59"/>
                    <a:pt x="7" y="59"/>
                  </a:cubicBezTo>
                  <a:cubicBezTo>
                    <a:pt x="8" y="60"/>
                    <a:pt x="9" y="61"/>
                    <a:pt x="8" y="63"/>
                  </a:cubicBezTo>
                  <a:cubicBezTo>
                    <a:pt x="8" y="65"/>
                    <a:pt x="7" y="68"/>
                    <a:pt x="7" y="70"/>
                  </a:cubicBezTo>
                  <a:cubicBezTo>
                    <a:pt x="6" y="72"/>
                    <a:pt x="5" y="73"/>
                    <a:pt x="4" y="73"/>
                  </a:cubicBezTo>
                  <a:cubicBezTo>
                    <a:pt x="4" y="73"/>
                    <a:pt x="4" y="73"/>
                    <a:pt x="4" y="73"/>
                  </a:cubicBezTo>
                  <a:cubicBezTo>
                    <a:pt x="2" y="73"/>
                    <a:pt x="1" y="74"/>
                    <a:pt x="0" y="76"/>
                  </a:cubicBezTo>
                  <a:cubicBezTo>
                    <a:pt x="0" y="87"/>
                    <a:pt x="0" y="87"/>
                    <a:pt x="0" y="87"/>
                  </a:cubicBezTo>
                  <a:cubicBezTo>
                    <a:pt x="0" y="89"/>
                    <a:pt x="1" y="90"/>
                    <a:pt x="3" y="90"/>
                  </a:cubicBezTo>
                  <a:cubicBezTo>
                    <a:pt x="3" y="90"/>
                    <a:pt x="3" y="90"/>
                    <a:pt x="3" y="90"/>
                  </a:cubicBezTo>
                  <a:cubicBezTo>
                    <a:pt x="5" y="90"/>
                    <a:pt x="6" y="91"/>
                    <a:pt x="6" y="93"/>
                  </a:cubicBezTo>
                  <a:cubicBezTo>
                    <a:pt x="6" y="96"/>
                    <a:pt x="7" y="99"/>
                    <a:pt x="8" y="102"/>
                  </a:cubicBezTo>
                  <a:cubicBezTo>
                    <a:pt x="8" y="103"/>
                    <a:pt x="7" y="104"/>
                    <a:pt x="6" y="105"/>
                  </a:cubicBezTo>
                  <a:cubicBezTo>
                    <a:pt x="6" y="105"/>
                    <a:pt x="6" y="105"/>
                    <a:pt x="6" y="105"/>
                  </a:cubicBezTo>
                  <a:cubicBezTo>
                    <a:pt x="4" y="106"/>
                    <a:pt x="3" y="107"/>
                    <a:pt x="4" y="109"/>
                  </a:cubicBezTo>
                  <a:cubicBezTo>
                    <a:pt x="8" y="119"/>
                    <a:pt x="8" y="119"/>
                    <a:pt x="8" y="119"/>
                  </a:cubicBezTo>
                  <a:cubicBezTo>
                    <a:pt x="9" y="121"/>
                    <a:pt x="10" y="122"/>
                    <a:pt x="12" y="121"/>
                  </a:cubicBezTo>
                  <a:cubicBezTo>
                    <a:pt x="12" y="121"/>
                    <a:pt x="12" y="121"/>
                    <a:pt x="12" y="121"/>
                  </a:cubicBezTo>
                  <a:cubicBezTo>
                    <a:pt x="13" y="120"/>
                    <a:pt x="15" y="121"/>
                    <a:pt x="16" y="122"/>
                  </a:cubicBezTo>
                  <a:cubicBezTo>
                    <a:pt x="17" y="125"/>
                    <a:pt x="19" y="127"/>
                    <a:pt x="20" y="130"/>
                  </a:cubicBezTo>
                  <a:cubicBezTo>
                    <a:pt x="21" y="131"/>
                    <a:pt x="21" y="133"/>
                    <a:pt x="20" y="134"/>
                  </a:cubicBezTo>
                  <a:cubicBezTo>
                    <a:pt x="20" y="134"/>
                    <a:pt x="20" y="134"/>
                    <a:pt x="20" y="134"/>
                  </a:cubicBezTo>
                  <a:cubicBezTo>
                    <a:pt x="19" y="135"/>
                    <a:pt x="19" y="137"/>
                    <a:pt x="20" y="138"/>
                  </a:cubicBezTo>
                  <a:cubicBezTo>
                    <a:pt x="28" y="146"/>
                    <a:pt x="28" y="146"/>
                    <a:pt x="28" y="146"/>
                  </a:cubicBezTo>
                  <a:cubicBezTo>
                    <a:pt x="29" y="147"/>
                    <a:pt x="31" y="147"/>
                    <a:pt x="32" y="146"/>
                  </a:cubicBezTo>
                  <a:cubicBezTo>
                    <a:pt x="32" y="146"/>
                    <a:pt x="32" y="146"/>
                    <a:pt x="32" y="146"/>
                  </a:cubicBezTo>
                  <a:cubicBezTo>
                    <a:pt x="33" y="145"/>
                    <a:pt x="35" y="145"/>
                    <a:pt x="36" y="146"/>
                  </a:cubicBezTo>
                  <a:cubicBezTo>
                    <a:pt x="38" y="147"/>
                    <a:pt x="40" y="149"/>
                    <a:pt x="43" y="150"/>
                  </a:cubicBezTo>
                  <a:cubicBezTo>
                    <a:pt x="44" y="151"/>
                    <a:pt x="44" y="153"/>
                    <a:pt x="44" y="154"/>
                  </a:cubicBezTo>
                  <a:cubicBezTo>
                    <a:pt x="44" y="154"/>
                    <a:pt x="44" y="154"/>
                    <a:pt x="44" y="154"/>
                  </a:cubicBezTo>
                  <a:cubicBezTo>
                    <a:pt x="43" y="156"/>
                    <a:pt x="44" y="157"/>
                    <a:pt x="45" y="158"/>
                  </a:cubicBezTo>
                  <a:cubicBezTo>
                    <a:pt x="56" y="162"/>
                    <a:pt x="56" y="162"/>
                    <a:pt x="56" y="162"/>
                  </a:cubicBezTo>
                  <a:cubicBezTo>
                    <a:pt x="57" y="163"/>
                    <a:pt x="59" y="162"/>
                    <a:pt x="59" y="161"/>
                  </a:cubicBezTo>
                  <a:cubicBezTo>
                    <a:pt x="59" y="161"/>
                    <a:pt x="59" y="161"/>
                    <a:pt x="59" y="161"/>
                  </a:cubicBezTo>
                  <a:cubicBezTo>
                    <a:pt x="60" y="160"/>
                    <a:pt x="62" y="159"/>
                    <a:pt x="63" y="159"/>
                  </a:cubicBezTo>
                  <a:cubicBezTo>
                    <a:pt x="66" y="160"/>
                    <a:pt x="68" y="161"/>
                    <a:pt x="71" y="161"/>
                  </a:cubicBezTo>
                  <a:cubicBezTo>
                    <a:pt x="72" y="161"/>
                    <a:pt x="73" y="163"/>
                    <a:pt x="73" y="164"/>
                  </a:cubicBezTo>
                  <a:cubicBezTo>
                    <a:pt x="73" y="164"/>
                    <a:pt x="73" y="164"/>
                    <a:pt x="73" y="164"/>
                  </a:cubicBezTo>
                  <a:cubicBezTo>
                    <a:pt x="73" y="166"/>
                    <a:pt x="75" y="167"/>
                    <a:pt x="76" y="167"/>
                  </a:cubicBezTo>
                  <a:cubicBezTo>
                    <a:pt x="87" y="167"/>
                    <a:pt x="87" y="167"/>
                    <a:pt x="87" y="167"/>
                  </a:cubicBezTo>
                  <a:cubicBezTo>
                    <a:pt x="89" y="167"/>
                    <a:pt x="90" y="166"/>
                    <a:pt x="90" y="164"/>
                  </a:cubicBezTo>
                  <a:cubicBezTo>
                    <a:pt x="90" y="164"/>
                    <a:pt x="90" y="164"/>
                    <a:pt x="90" y="164"/>
                  </a:cubicBezTo>
                  <a:cubicBezTo>
                    <a:pt x="91" y="163"/>
                    <a:pt x="92" y="162"/>
                    <a:pt x="93" y="162"/>
                  </a:cubicBezTo>
                  <a:cubicBezTo>
                    <a:pt x="96" y="161"/>
                    <a:pt x="99" y="161"/>
                    <a:pt x="102" y="160"/>
                  </a:cubicBezTo>
                  <a:cubicBezTo>
                    <a:pt x="103" y="160"/>
                    <a:pt x="105" y="160"/>
                    <a:pt x="105" y="162"/>
                  </a:cubicBezTo>
                  <a:cubicBezTo>
                    <a:pt x="106" y="162"/>
                    <a:pt x="106" y="162"/>
                    <a:pt x="106" y="162"/>
                  </a:cubicBezTo>
                  <a:cubicBezTo>
                    <a:pt x="106" y="163"/>
                    <a:pt x="108" y="164"/>
                    <a:pt x="109" y="164"/>
                  </a:cubicBezTo>
                  <a:cubicBezTo>
                    <a:pt x="120" y="159"/>
                    <a:pt x="120" y="159"/>
                    <a:pt x="120" y="159"/>
                  </a:cubicBezTo>
                  <a:cubicBezTo>
                    <a:pt x="121" y="159"/>
                    <a:pt x="122" y="157"/>
                    <a:pt x="121" y="156"/>
                  </a:cubicBezTo>
                  <a:cubicBezTo>
                    <a:pt x="121" y="156"/>
                    <a:pt x="121" y="156"/>
                    <a:pt x="121" y="156"/>
                  </a:cubicBezTo>
                  <a:cubicBezTo>
                    <a:pt x="121" y="154"/>
                    <a:pt x="121" y="153"/>
                    <a:pt x="123" y="152"/>
                  </a:cubicBezTo>
                  <a:cubicBezTo>
                    <a:pt x="125" y="151"/>
                    <a:pt x="127" y="149"/>
                    <a:pt x="130" y="148"/>
                  </a:cubicBezTo>
                  <a:cubicBezTo>
                    <a:pt x="131" y="147"/>
                    <a:pt x="132" y="147"/>
                    <a:pt x="133" y="148"/>
                  </a:cubicBezTo>
                  <a:cubicBezTo>
                    <a:pt x="133" y="148"/>
                    <a:pt x="133" y="148"/>
                    <a:pt x="133" y="148"/>
                  </a:cubicBezTo>
                  <a:cubicBezTo>
                    <a:pt x="135" y="149"/>
                    <a:pt x="136" y="149"/>
                    <a:pt x="138" y="148"/>
                  </a:cubicBezTo>
                  <a:cubicBezTo>
                    <a:pt x="146" y="140"/>
                    <a:pt x="146" y="140"/>
                    <a:pt x="146" y="140"/>
                  </a:cubicBezTo>
                  <a:cubicBezTo>
                    <a:pt x="147" y="139"/>
                    <a:pt x="147" y="137"/>
                    <a:pt x="146" y="136"/>
                  </a:cubicBezTo>
                  <a:cubicBezTo>
                    <a:pt x="145" y="135"/>
                    <a:pt x="145" y="133"/>
                    <a:pt x="146" y="132"/>
                  </a:cubicBezTo>
                  <a:cubicBezTo>
                    <a:pt x="148" y="130"/>
                    <a:pt x="149" y="127"/>
                    <a:pt x="151" y="125"/>
                  </a:cubicBezTo>
                  <a:cubicBezTo>
                    <a:pt x="152" y="124"/>
                    <a:pt x="153" y="123"/>
                    <a:pt x="155" y="124"/>
                  </a:cubicBezTo>
                  <a:cubicBezTo>
                    <a:pt x="155" y="124"/>
                    <a:pt x="155" y="124"/>
                    <a:pt x="155" y="124"/>
                  </a:cubicBezTo>
                  <a:cubicBezTo>
                    <a:pt x="156" y="124"/>
                    <a:pt x="158" y="124"/>
                    <a:pt x="159" y="122"/>
                  </a:cubicBezTo>
                  <a:cubicBezTo>
                    <a:pt x="163" y="112"/>
                    <a:pt x="163" y="112"/>
                    <a:pt x="163" y="112"/>
                  </a:cubicBezTo>
                  <a:cubicBezTo>
                    <a:pt x="164" y="111"/>
                    <a:pt x="163" y="109"/>
                    <a:pt x="161" y="108"/>
                  </a:cubicBezTo>
                  <a:cubicBezTo>
                    <a:pt x="161" y="108"/>
                    <a:pt x="161" y="108"/>
                    <a:pt x="161" y="108"/>
                  </a:cubicBezTo>
                  <a:cubicBezTo>
                    <a:pt x="160" y="107"/>
                    <a:pt x="159" y="106"/>
                    <a:pt x="160" y="105"/>
                  </a:cubicBezTo>
                  <a:cubicBezTo>
                    <a:pt x="161" y="102"/>
                    <a:pt x="161" y="99"/>
                    <a:pt x="162" y="97"/>
                  </a:cubicBezTo>
                  <a:cubicBezTo>
                    <a:pt x="162" y="95"/>
                    <a:pt x="163" y="94"/>
                    <a:pt x="165" y="94"/>
                  </a:cubicBezTo>
                  <a:cubicBezTo>
                    <a:pt x="165" y="94"/>
                    <a:pt x="165" y="94"/>
                    <a:pt x="165" y="94"/>
                  </a:cubicBezTo>
                  <a:cubicBezTo>
                    <a:pt x="166" y="94"/>
                    <a:pt x="168" y="93"/>
                    <a:pt x="168" y="91"/>
                  </a:cubicBezTo>
                  <a:cubicBezTo>
                    <a:pt x="168" y="80"/>
                    <a:pt x="168" y="80"/>
                    <a:pt x="168" y="80"/>
                  </a:cubicBezTo>
                  <a:cubicBezTo>
                    <a:pt x="168" y="78"/>
                    <a:pt x="167" y="77"/>
                    <a:pt x="165" y="77"/>
                  </a:cubicBezTo>
                  <a:cubicBezTo>
                    <a:pt x="165" y="77"/>
                    <a:pt x="165" y="77"/>
                    <a:pt x="165" y="77"/>
                  </a:cubicBezTo>
                  <a:cubicBezTo>
                    <a:pt x="164" y="77"/>
                    <a:pt x="162" y="76"/>
                    <a:pt x="162" y="74"/>
                  </a:cubicBezTo>
                  <a:cubicBezTo>
                    <a:pt x="162" y="71"/>
                    <a:pt x="161" y="69"/>
                    <a:pt x="161" y="66"/>
                  </a:cubicBezTo>
                  <a:cubicBezTo>
                    <a:pt x="160" y="64"/>
                    <a:pt x="161" y="63"/>
                    <a:pt x="162" y="62"/>
                  </a:cubicBezTo>
                  <a:cubicBezTo>
                    <a:pt x="162" y="62"/>
                    <a:pt x="162" y="62"/>
                    <a:pt x="162" y="62"/>
                  </a:cubicBezTo>
                  <a:cubicBezTo>
                    <a:pt x="164" y="61"/>
                    <a:pt x="165" y="60"/>
                    <a:pt x="164" y="58"/>
                  </a:cubicBezTo>
                  <a:cubicBezTo>
                    <a:pt x="160" y="48"/>
                    <a:pt x="160" y="48"/>
                    <a:pt x="160" y="48"/>
                  </a:cubicBezTo>
                  <a:cubicBezTo>
                    <a:pt x="159" y="46"/>
                    <a:pt x="158" y="46"/>
                    <a:pt x="156" y="46"/>
                  </a:cubicBezTo>
                  <a:close/>
                  <a:moveTo>
                    <a:pt x="80" y="78"/>
                  </a:moveTo>
                  <a:cubicBezTo>
                    <a:pt x="84" y="75"/>
                    <a:pt x="90" y="77"/>
                    <a:pt x="91" y="83"/>
                  </a:cubicBezTo>
                  <a:cubicBezTo>
                    <a:pt x="91" y="85"/>
                    <a:pt x="90" y="88"/>
                    <a:pt x="88" y="89"/>
                  </a:cubicBezTo>
                  <a:cubicBezTo>
                    <a:pt x="84" y="92"/>
                    <a:pt x="78" y="90"/>
                    <a:pt x="77" y="84"/>
                  </a:cubicBezTo>
                  <a:cubicBezTo>
                    <a:pt x="77" y="82"/>
                    <a:pt x="78" y="79"/>
                    <a:pt x="80" y="78"/>
                  </a:cubicBezTo>
                  <a:close/>
                  <a:moveTo>
                    <a:pt x="25" y="109"/>
                  </a:moveTo>
                  <a:cubicBezTo>
                    <a:pt x="14" y="82"/>
                    <a:pt x="23" y="52"/>
                    <a:pt x="45" y="35"/>
                  </a:cubicBezTo>
                  <a:cubicBezTo>
                    <a:pt x="49" y="31"/>
                    <a:pt x="55" y="33"/>
                    <a:pt x="57" y="38"/>
                  </a:cubicBezTo>
                  <a:cubicBezTo>
                    <a:pt x="70" y="72"/>
                    <a:pt x="70" y="72"/>
                    <a:pt x="70" y="72"/>
                  </a:cubicBezTo>
                  <a:cubicBezTo>
                    <a:pt x="67" y="77"/>
                    <a:pt x="65" y="84"/>
                    <a:pt x="68" y="90"/>
                  </a:cubicBezTo>
                  <a:cubicBezTo>
                    <a:pt x="68" y="92"/>
                    <a:pt x="69" y="93"/>
                    <a:pt x="70" y="94"/>
                  </a:cubicBezTo>
                  <a:cubicBezTo>
                    <a:pt x="54" y="130"/>
                    <a:pt x="54" y="130"/>
                    <a:pt x="54" y="130"/>
                  </a:cubicBezTo>
                  <a:cubicBezTo>
                    <a:pt x="52" y="135"/>
                    <a:pt x="46" y="137"/>
                    <a:pt x="41" y="133"/>
                  </a:cubicBezTo>
                  <a:cubicBezTo>
                    <a:pt x="34" y="126"/>
                    <a:pt x="28" y="118"/>
                    <a:pt x="25" y="109"/>
                  </a:cubicBezTo>
                  <a:close/>
                  <a:moveTo>
                    <a:pt x="108" y="145"/>
                  </a:moveTo>
                  <a:cubicBezTo>
                    <a:pt x="97" y="149"/>
                    <a:pt x="86" y="151"/>
                    <a:pt x="76" y="149"/>
                  </a:cubicBezTo>
                  <a:cubicBezTo>
                    <a:pt x="71" y="148"/>
                    <a:pt x="68" y="143"/>
                    <a:pt x="70" y="138"/>
                  </a:cubicBezTo>
                  <a:cubicBezTo>
                    <a:pt x="86" y="101"/>
                    <a:pt x="86" y="101"/>
                    <a:pt x="86" y="101"/>
                  </a:cubicBezTo>
                  <a:cubicBezTo>
                    <a:pt x="87" y="101"/>
                    <a:pt x="89" y="101"/>
                    <a:pt x="90" y="100"/>
                  </a:cubicBezTo>
                  <a:cubicBezTo>
                    <a:pt x="92" y="99"/>
                    <a:pt x="93" y="98"/>
                    <a:pt x="95" y="98"/>
                  </a:cubicBezTo>
                  <a:cubicBezTo>
                    <a:pt x="131" y="114"/>
                    <a:pt x="131" y="114"/>
                    <a:pt x="131" y="114"/>
                  </a:cubicBezTo>
                  <a:cubicBezTo>
                    <a:pt x="136" y="116"/>
                    <a:pt x="138" y="122"/>
                    <a:pt x="135" y="126"/>
                  </a:cubicBezTo>
                  <a:cubicBezTo>
                    <a:pt x="128" y="134"/>
                    <a:pt x="119" y="141"/>
                    <a:pt x="108" y="145"/>
                  </a:cubicBezTo>
                  <a:close/>
                  <a:moveTo>
                    <a:pt x="138" y="98"/>
                  </a:moveTo>
                  <a:cubicBezTo>
                    <a:pt x="102" y="82"/>
                    <a:pt x="102" y="82"/>
                    <a:pt x="102" y="82"/>
                  </a:cubicBezTo>
                  <a:cubicBezTo>
                    <a:pt x="101" y="80"/>
                    <a:pt x="101" y="79"/>
                    <a:pt x="100" y="77"/>
                  </a:cubicBezTo>
                  <a:cubicBezTo>
                    <a:pt x="98" y="71"/>
                    <a:pt x="93" y="67"/>
                    <a:pt x="86" y="66"/>
                  </a:cubicBezTo>
                  <a:cubicBezTo>
                    <a:pt x="73" y="32"/>
                    <a:pt x="73" y="32"/>
                    <a:pt x="73" y="32"/>
                  </a:cubicBezTo>
                  <a:cubicBezTo>
                    <a:pt x="71" y="27"/>
                    <a:pt x="74" y="21"/>
                    <a:pt x="80" y="21"/>
                  </a:cubicBezTo>
                  <a:cubicBezTo>
                    <a:pt x="107" y="19"/>
                    <a:pt x="134" y="35"/>
                    <a:pt x="145" y="62"/>
                  </a:cubicBezTo>
                  <a:cubicBezTo>
                    <a:pt x="149" y="71"/>
                    <a:pt x="150" y="81"/>
                    <a:pt x="149" y="91"/>
                  </a:cubicBezTo>
                  <a:cubicBezTo>
                    <a:pt x="148" y="96"/>
                    <a:pt x="143" y="100"/>
                    <a:pt x="138" y="98"/>
                  </a:cubicBezTo>
                  <a:close/>
                </a:path>
              </a:pathLst>
            </a:custGeom>
            <a:solidFill>
              <a:srgbClr val="75757A"/>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3" name="Freeform 133">
              <a:extLst>
                <a:ext uri="{FF2B5EF4-FFF2-40B4-BE49-F238E27FC236}">
                  <a16:creationId xmlns:a16="http://schemas.microsoft.com/office/drawing/2014/main" id="{BEB63382-AFE9-4FEA-8C1D-F046D6552B40}"/>
                </a:ext>
              </a:extLst>
            </p:cNvPr>
            <p:cNvSpPr>
              <a:spLocks/>
            </p:cNvSpPr>
            <p:nvPr/>
          </p:nvSpPr>
          <p:spPr bwMode="auto">
            <a:xfrm>
              <a:off x="3811" y="2178"/>
              <a:ext cx="126" cy="96"/>
            </a:xfrm>
            <a:custGeom>
              <a:avLst/>
              <a:gdLst>
                <a:gd name="T0" fmla="*/ 25 w 61"/>
                <a:gd name="T1" fmla="*/ 0 h 47"/>
                <a:gd name="T2" fmla="*/ 14 w 61"/>
                <a:gd name="T3" fmla="*/ 6 h 47"/>
                <a:gd name="T4" fmla="*/ 11 w 61"/>
                <a:gd name="T5" fmla="*/ 5 h 47"/>
                <a:gd name="T6" fmla="*/ 0 w 61"/>
                <a:gd name="T7" fmla="*/ 47 h 47"/>
                <a:gd name="T8" fmla="*/ 16 w 61"/>
                <a:gd name="T9" fmla="*/ 10 h 47"/>
                <a:gd name="T10" fmla="*/ 20 w 61"/>
                <a:gd name="T11" fmla="*/ 9 h 47"/>
                <a:gd name="T12" fmla="*/ 25 w 61"/>
                <a:gd name="T13" fmla="*/ 7 h 47"/>
                <a:gd name="T14" fmla="*/ 61 w 61"/>
                <a:gd name="T15" fmla="*/ 23 h 47"/>
                <a:gd name="T16" fmla="*/ 25 w 61"/>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7">
                  <a:moveTo>
                    <a:pt x="25" y="0"/>
                  </a:moveTo>
                  <a:cubicBezTo>
                    <a:pt x="23" y="3"/>
                    <a:pt x="19" y="6"/>
                    <a:pt x="14" y="6"/>
                  </a:cubicBezTo>
                  <a:cubicBezTo>
                    <a:pt x="13" y="6"/>
                    <a:pt x="12" y="6"/>
                    <a:pt x="11" y="5"/>
                  </a:cubicBezTo>
                  <a:cubicBezTo>
                    <a:pt x="0" y="47"/>
                    <a:pt x="0" y="47"/>
                    <a:pt x="0" y="47"/>
                  </a:cubicBezTo>
                  <a:cubicBezTo>
                    <a:pt x="16" y="10"/>
                    <a:pt x="16" y="10"/>
                    <a:pt x="16" y="10"/>
                  </a:cubicBezTo>
                  <a:cubicBezTo>
                    <a:pt x="17" y="10"/>
                    <a:pt x="19" y="10"/>
                    <a:pt x="20" y="9"/>
                  </a:cubicBezTo>
                  <a:cubicBezTo>
                    <a:pt x="22" y="8"/>
                    <a:pt x="23" y="7"/>
                    <a:pt x="25" y="7"/>
                  </a:cubicBezTo>
                  <a:cubicBezTo>
                    <a:pt x="61" y="23"/>
                    <a:pt x="61" y="23"/>
                    <a:pt x="61" y="23"/>
                  </a:cubicBezTo>
                  <a:lnTo>
                    <a:pt x="25" y="0"/>
                  </a:lnTo>
                  <a:close/>
                </a:path>
              </a:pathLst>
            </a:custGeom>
            <a:solidFill>
              <a:srgbClr val="3C3C41"/>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sp>
          <p:nvSpPr>
            <p:cNvPr id="724" name="Freeform 134">
              <a:extLst>
                <a:ext uri="{FF2B5EF4-FFF2-40B4-BE49-F238E27FC236}">
                  <a16:creationId xmlns:a16="http://schemas.microsoft.com/office/drawing/2014/main" id="{4E99B0F8-9713-4644-B4DB-6A8EF71986DF}"/>
                </a:ext>
              </a:extLst>
            </p:cNvPr>
            <p:cNvSpPr>
              <a:spLocks/>
            </p:cNvSpPr>
            <p:nvPr/>
          </p:nvSpPr>
          <p:spPr bwMode="auto">
            <a:xfrm>
              <a:off x="3805" y="2023"/>
              <a:ext cx="115" cy="99"/>
            </a:xfrm>
            <a:custGeom>
              <a:avLst/>
              <a:gdLst>
                <a:gd name="T0" fmla="*/ 9 w 56"/>
                <a:gd name="T1" fmla="*/ 2 h 48"/>
                <a:gd name="T2" fmla="*/ 2 w 56"/>
                <a:gd name="T3" fmla="*/ 13 h 48"/>
                <a:gd name="T4" fmla="*/ 18 w 56"/>
                <a:gd name="T5" fmla="*/ 48 h 48"/>
                <a:gd name="T6" fmla="*/ 6 w 56"/>
                <a:gd name="T7" fmla="*/ 16 h 48"/>
                <a:gd name="T8" fmla="*/ 13 w 56"/>
                <a:gd name="T9" fmla="*/ 5 h 48"/>
                <a:gd name="T10" fmla="*/ 56 w 56"/>
                <a:gd name="T11" fmla="*/ 17 h 48"/>
                <a:gd name="T12" fmla="*/ 9 w 56"/>
                <a:gd name="T13" fmla="*/ 2 h 48"/>
              </a:gdLst>
              <a:ahLst/>
              <a:cxnLst>
                <a:cxn ang="0">
                  <a:pos x="T0" y="T1"/>
                </a:cxn>
                <a:cxn ang="0">
                  <a:pos x="T2" y="T3"/>
                </a:cxn>
                <a:cxn ang="0">
                  <a:pos x="T4" y="T5"/>
                </a:cxn>
                <a:cxn ang="0">
                  <a:pos x="T6" y="T7"/>
                </a:cxn>
                <a:cxn ang="0">
                  <a:pos x="T8" y="T9"/>
                </a:cxn>
                <a:cxn ang="0">
                  <a:pos x="T10" y="T11"/>
                </a:cxn>
                <a:cxn ang="0">
                  <a:pos x="T12" y="T13"/>
                </a:cxn>
              </a:cxnLst>
              <a:rect l="0" t="0" r="r" b="b"/>
              <a:pathLst>
                <a:path w="56" h="48">
                  <a:moveTo>
                    <a:pt x="9" y="2"/>
                  </a:moveTo>
                  <a:cubicBezTo>
                    <a:pt x="3" y="2"/>
                    <a:pt x="0" y="8"/>
                    <a:pt x="2" y="13"/>
                  </a:cubicBezTo>
                  <a:cubicBezTo>
                    <a:pt x="2" y="13"/>
                    <a:pt x="15" y="41"/>
                    <a:pt x="18" y="48"/>
                  </a:cubicBezTo>
                  <a:cubicBezTo>
                    <a:pt x="6" y="16"/>
                    <a:pt x="6" y="16"/>
                    <a:pt x="6" y="16"/>
                  </a:cubicBezTo>
                  <a:cubicBezTo>
                    <a:pt x="4" y="11"/>
                    <a:pt x="7" y="5"/>
                    <a:pt x="13" y="5"/>
                  </a:cubicBezTo>
                  <a:cubicBezTo>
                    <a:pt x="28" y="4"/>
                    <a:pt x="43" y="8"/>
                    <a:pt x="56" y="17"/>
                  </a:cubicBezTo>
                  <a:cubicBezTo>
                    <a:pt x="43" y="6"/>
                    <a:pt x="26" y="0"/>
                    <a:pt x="9" y="2"/>
                  </a:cubicBezTo>
                  <a:close/>
                </a:path>
              </a:pathLst>
            </a:custGeom>
            <a:solidFill>
              <a:srgbClr val="3C3C41"/>
            </a:solidFill>
            <a:ln>
              <a:noFill/>
            </a:ln>
            <a:sp3d>
              <a:bevelB w="139700" prst="softRound"/>
            </a:sp3d>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183" name="INTELLIGENCE">
            <a:extLst>
              <a:ext uri="{FF2B5EF4-FFF2-40B4-BE49-F238E27FC236}">
                <a16:creationId xmlns:a16="http://schemas.microsoft.com/office/drawing/2014/main" id="{A7BAF50D-8D02-40D4-A051-D9FD3234C358}"/>
              </a:ext>
            </a:extLst>
          </p:cNvPr>
          <p:cNvGrpSpPr/>
          <p:nvPr/>
        </p:nvGrpSpPr>
        <p:grpSpPr>
          <a:xfrm>
            <a:off x="5464309" y="151554"/>
            <a:ext cx="1260143" cy="1260143"/>
            <a:chOff x="5482849" y="2976945"/>
            <a:chExt cx="1260143" cy="1260143"/>
          </a:xfrm>
          <a:scene3d>
            <a:camera prst="perspectiveFront">
              <a:rot lat="17100000" lon="0" rev="0"/>
            </a:camera>
            <a:lightRig rig="threePt" dir="t"/>
          </a:scene3d>
        </p:grpSpPr>
        <p:sp>
          <p:nvSpPr>
            <p:cNvPr id="184" name="Oval 183">
              <a:extLst>
                <a:ext uri="{FF2B5EF4-FFF2-40B4-BE49-F238E27FC236}">
                  <a16:creationId xmlns:a16="http://schemas.microsoft.com/office/drawing/2014/main" id="{75A18992-A9F9-4B40-ABFF-0A49F86F8202}"/>
                </a:ext>
              </a:extLst>
            </p:cNvPr>
            <p:cNvSpPr/>
            <p:nvPr/>
          </p:nvSpPr>
          <p:spPr bwMode="auto">
            <a:xfrm>
              <a:off x="5482849" y="2976945"/>
              <a:ext cx="1260143" cy="1260143"/>
            </a:xfrm>
            <a:prstGeom prst="ellipse">
              <a:avLst/>
            </a:prstGeom>
            <a:solidFill>
              <a:srgbClr val="008272"/>
            </a:solidFill>
            <a:ln w="9525" cap="flat" cmpd="sng" algn="ctr">
              <a:noFill/>
              <a:prstDash val="solid"/>
              <a:headEnd type="none" w="med" len="med"/>
              <a:tailEnd type="none" w="med" len="med"/>
            </a:ln>
            <a:effectLst/>
            <a:sp3d>
              <a:bevelB/>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Freeform: Shape 184">
              <a:extLst>
                <a:ext uri="{FF2B5EF4-FFF2-40B4-BE49-F238E27FC236}">
                  <a16:creationId xmlns:a16="http://schemas.microsoft.com/office/drawing/2014/main" id="{31E22910-94E5-4735-B531-2FB4DF88E95E}"/>
                </a:ext>
              </a:extLst>
            </p:cNvPr>
            <p:cNvSpPr/>
            <p:nvPr/>
          </p:nvSpPr>
          <p:spPr bwMode="auto">
            <a:xfrm>
              <a:off x="5696726" y="3875517"/>
              <a:ext cx="832388" cy="294839"/>
            </a:xfrm>
            <a:custGeom>
              <a:avLst/>
              <a:gdLst/>
              <a:ahLst/>
              <a:cxnLst/>
              <a:rect l="l" t="t" r="r" b="b"/>
              <a:pathLst>
                <a:path w="944958" h="334712">
                  <a:moveTo>
                    <a:pt x="554645" y="244324"/>
                  </a:moveTo>
                  <a:cubicBezTo>
                    <a:pt x="549827" y="244931"/>
                    <a:pt x="546278" y="247288"/>
                    <a:pt x="543999" y="251397"/>
                  </a:cubicBezTo>
                  <a:cubicBezTo>
                    <a:pt x="541719" y="255505"/>
                    <a:pt x="541009" y="260978"/>
                    <a:pt x="541869" y="267815"/>
                  </a:cubicBezTo>
                  <a:cubicBezTo>
                    <a:pt x="542608" y="273688"/>
                    <a:pt x="544500" y="278169"/>
                    <a:pt x="547546" y="281258"/>
                  </a:cubicBezTo>
                  <a:cubicBezTo>
                    <a:pt x="550591" y="284347"/>
                    <a:pt x="554385" y="285606"/>
                    <a:pt x="558927" y="285035"/>
                  </a:cubicBezTo>
                  <a:cubicBezTo>
                    <a:pt x="563424" y="284469"/>
                    <a:pt x="566842" y="282279"/>
                    <a:pt x="569182" y="278466"/>
                  </a:cubicBezTo>
                  <a:cubicBezTo>
                    <a:pt x="571522" y="274653"/>
                    <a:pt x="572335" y="269901"/>
                    <a:pt x="571619" y="264212"/>
                  </a:cubicBezTo>
                  <a:lnTo>
                    <a:pt x="570917" y="258637"/>
                  </a:lnTo>
                  <a:cubicBezTo>
                    <a:pt x="570358" y="254186"/>
                    <a:pt x="568561" y="250556"/>
                    <a:pt x="565527" y="247744"/>
                  </a:cubicBezTo>
                  <a:cubicBezTo>
                    <a:pt x="562493" y="244933"/>
                    <a:pt x="558866" y="243793"/>
                    <a:pt x="554645" y="244324"/>
                  </a:cubicBezTo>
                  <a:close/>
                  <a:moveTo>
                    <a:pt x="454349" y="233687"/>
                  </a:moveTo>
                  <a:lnTo>
                    <a:pt x="476261" y="234271"/>
                  </a:lnTo>
                  <a:lnTo>
                    <a:pt x="474369" y="305277"/>
                  </a:lnTo>
                  <a:lnTo>
                    <a:pt x="452457" y="304693"/>
                  </a:lnTo>
                  <a:close/>
                  <a:moveTo>
                    <a:pt x="588486" y="224896"/>
                  </a:moveTo>
                  <a:lnTo>
                    <a:pt x="596339" y="287319"/>
                  </a:lnTo>
                  <a:cubicBezTo>
                    <a:pt x="597984" y="300396"/>
                    <a:pt x="595473" y="311001"/>
                    <a:pt x="588806" y="319134"/>
                  </a:cubicBezTo>
                  <a:cubicBezTo>
                    <a:pt x="582138" y="327267"/>
                    <a:pt x="571624" y="332237"/>
                    <a:pt x="557263" y="334044"/>
                  </a:cubicBezTo>
                  <a:cubicBezTo>
                    <a:pt x="547765" y="335239"/>
                    <a:pt x="540070" y="334832"/>
                    <a:pt x="534178" y="332823"/>
                  </a:cubicBezTo>
                  <a:lnTo>
                    <a:pt x="531874" y="314516"/>
                  </a:lnTo>
                  <a:cubicBezTo>
                    <a:pt x="539655" y="317825"/>
                    <a:pt x="547239" y="319015"/>
                    <a:pt x="554626" y="318086"/>
                  </a:cubicBezTo>
                  <a:cubicBezTo>
                    <a:pt x="561967" y="317162"/>
                    <a:pt x="567413" y="314508"/>
                    <a:pt x="570963" y="310123"/>
                  </a:cubicBezTo>
                  <a:cubicBezTo>
                    <a:pt x="574513" y="305738"/>
                    <a:pt x="575869" y="300219"/>
                    <a:pt x="575032" y="293565"/>
                  </a:cubicBezTo>
                  <a:lnTo>
                    <a:pt x="574331" y="287991"/>
                  </a:lnTo>
                  <a:lnTo>
                    <a:pt x="574055" y="288025"/>
                  </a:lnTo>
                  <a:cubicBezTo>
                    <a:pt x="570093" y="296541"/>
                    <a:pt x="563271" y="301407"/>
                    <a:pt x="553590" y="302625"/>
                  </a:cubicBezTo>
                  <a:cubicBezTo>
                    <a:pt x="544597" y="303757"/>
                    <a:pt x="537064" y="301488"/>
                    <a:pt x="530991" y="295820"/>
                  </a:cubicBezTo>
                  <a:cubicBezTo>
                    <a:pt x="524917" y="290152"/>
                    <a:pt x="521211" y="281996"/>
                    <a:pt x="519872" y="271351"/>
                  </a:cubicBezTo>
                  <a:cubicBezTo>
                    <a:pt x="518371" y="259422"/>
                    <a:pt x="520116" y="249577"/>
                    <a:pt x="525106" y="241818"/>
                  </a:cubicBezTo>
                  <a:cubicBezTo>
                    <a:pt x="530095" y="234059"/>
                    <a:pt x="537385" y="229577"/>
                    <a:pt x="546975" y="228370"/>
                  </a:cubicBezTo>
                  <a:cubicBezTo>
                    <a:pt x="555555" y="227291"/>
                    <a:pt x="562394" y="229786"/>
                    <a:pt x="567492" y="235857"/>
                  </a:cubicBezTo>
                  <a:lnTo>
                    <a:pt x="567768" y="235822"/>
                  </a:lnTo>
                  <a:lnTo>
                    <a:pt x="566737" y="227632"/>
                  </a:lnTo>
                  <a:close/>
                  <a:moveTo>
                    <a:pt x="650797" y="220152"/>
                  </a:moveTo>
                  <a:cubicBezTo>
                    <a:pt x="647452" y="221230"/>
                    <a:pt x="645005" y="223549"/>
                    <a:pt x="643455" y="227109"/>
                  </a:cubicBezTo>
                  <a:cubicBezTo>
                    <a:pt x="641906" y="230669"/>
                    <a:pt x="641534" y="234603"/>
                    <a:pt x="642339" y="238911"/>
                  </a:cubicBezTo>
                  <a:lnTo>
                    <a:pt x="667230" y="230890"/>
                  </a:lnTo>
                  <a:cubicBezTo>
                    <a:pt x="664110" y="221207"/>
                    <a:pt x="658632" y="217627"/>
                    <a:pt x="650797" y="220152"/>
                  </a:cubicBezTo>
                  <a:close/>
                  <a:moveTo>
                    <a:pt x="646398" y="206046"/>
                  </a:moveTo>
                  <a:cubicBezTo>
                    <a:pt x="656257" y="202869"/>
                    <a:pt x="664826" y="203339"/>
                    <a:pt x="672104" y="207456"/>
                  </a:cubicBezTo>
                  <a:cubicBezTo>
                    <a:pt x="679383" y="211572"/>
                    <a:pt x="684639" y="218649"/>
                    <a:pt x="687873" y="228684"/>
                  </a:cubicBezTo>
                  <a:lnTo>
                    <a:pt x="690702" y="237465"/>
                  </a:lnTo>
                  <a:lnTo>
                    <a:pt x="646598" y="251677"/>
                  </a:lnTo>
                  <a:cubicBezTo>
                    <a:pt x="650466" y="261265"/>
                    <a:pt x="658231" y="264180"/>
                    <a:pt x="669895" y="260422"/>
                  </a:cubicBezTo>
                  <a:cubicBezTo>
                    <a:pt x="677334" y="258025"/>
                    <a:pt x="683303" y="254158"/>
                    <a:pt x="687802" y="248821"/>
                  </a:cubicBezTo>
                  <a:lnTo>
                    <a:pt x="692653" y="263875"/>
                  </a:lnTo>
                  <a:cubicBezTo>
                    <a:pt x="687481" y="269234"/>
                    <a:pt x="679899" y="273523"/>
                    <a:pt x="669907" y="276743"/>
                  </a:cubicBezTo>
                  <a:cubicBezTo>
                    <a:pt x="658991" y="280260"/>
                    <a:pt x="649543" y="279965"/>
                    <a:pt x="641563" y="275856"/>
                  </a:cubicBezTo>
                  <a:cubicBezTo>
                    <a:pt x="633582" y="271746"/>
                    <a:pt x="627848" y="264278"/>
                    <a:pt x="624359" y="253450"/>
                  </a:cubicBezTo>
                  <a:cubicBezTo>
                    <a:pt x="620742" y="242226"/>
                    <a:pt x="621134" y="232285"/>
                    <a:pt x="625535" y="223628"/>
                  </a:cubicBezTo>
                  <a:cubicBezTo>
                    <a:pt x="629936" y="214970"/>
                    <a:pt x="636890" y="209110"/>
                    <a:pt x="646398" y="206046"/>
                  </a:cubicBezTo>
                  <a:close/>
                  <a:moveTo>
                    <a:pt x="261442" y="201610"/>
                  </a:moveTo>
                  <a:cubicBezTo>
                    <a:pt x="258194" y="200268"/>
                    <a:pt x="254827" y="200453"/>
                    <a:pt x="251343" y="202165"/>
                  </a:cubicBezTo>
                  <a:cubicBezTo>
                    <a:pt x="247858" y="203878"/>
                    <a:pt x="245029" y="206637"/>
                    <a:pt x="242857" y="210442"/>
                  </a:cubicBezTo>
                  <a:lnTo>
                    <a:pt x="267026" y="220429"/>
                  </a:lnTo>
                  <a:cubicBezTo>
                    <a:pt x="270911" y="211026"/>
                    <a:pt x="269050" y="204753"/>
                    <a:pt x="261442" y="201610"/>
                  </a:cubicBezTo>
                  <a:close/>
                  <a:moveTo>
                    <a:pt x="466344" y="200213"/>
                  </a:moveTo>
                  <a:cubicBezTo>
                    <a:pt x="470088" y="200313"/>
                    <a:pt x="473100" y="201434"/>
                    <a:pt x="475379" y="203576"/>
                  </a:cubicBezTo>
                  <a:cubicBezTo>
                    <a:pt x="477658" y="205719"/>
                    <a:pt x="478754" y="208431"/>
                    <a:pt x="478667" y="211713"/>
                  </a:cubicBezTo>
                  <a:cubicBezTo>
                    <a:pt x="478578" y="215042"/>
                    <a:pt x="477338" y="217738"/>
                    <a:pt x="474947" y="219802"/>
                  </a:cubicBezTo>
                  <a:cubicBezTo>
                    <a:pt x="472556" y="221866"/>
                    <a:pt x="469488" y="222849"/>
                    <a:pt x="465743" y="222749"/>
                  </a:cubicBezTo>
                  <a:cubicBezTo>
                    <a:pt x="462045" y="222650"/>
                    <a:pt x="459047" y="221472"/>
                    <a:pt x="456747" y="219213"/>
                  </a:cubicBezTo>
                  <a:cubicBezTo>
                    <a:pt x="454448" y="216954"/>
                    <a:pt x="453341" y="214230"/>
                    <a:pt x="453426" y="211040"/>
                  </a:cubicBezTo>
                  <a:cubicBezTo>
                    <a:pt x="453514" y="207758"/>
                    <a:pt x="454764" y="205108"/>
                    <a:pt x="457177" y="203091"/>
                  </a:cubicBezTo>
                  <a:cubicBezTo>
                    <a:pt x="459590" y="201074"/>
                    <a:pt x="462646" y="200114"/>
                    <a:pt x="466344" y="200213"/>
                  </a:cubicBezTo>
                  <a:close/>
                  <a:moveTo>
                    <a:pt x="401554" y="193900"/>
                  </a:moveTo>
                  <a:lnTo>
                    <a:pt x="423269" y="196889"/>
                  </a:lnTo>
                  <a:lnTo>
                    <a:pt x="408932" y="301067"/>
                  </a:lnTo>
                  <a:lnTo>
                    <a:pt x="387217" y="298078"/>
                  </a:lnTo>
                  <a:close/>
                  <a:moveTo>
                    <a:pt x="239930" y="187917"/>
                  </a:moveTo>
                  <a:cubicBezTo>
                    <a:pt x="248887" y="184163"/>
                    <a:pt x="257981" y="184193"/>
                    <a:pt x="267213" y="188007"/>
                  </a:cubicBezTo>
                  <a:cubicBezTo>
                    <a:pt x="276786" y="191963"/>
                    <a:pt x="283017" y="197865"/>
                    <a:pt x="285903" y="205713"/>
                  </a:cubicBezTo>
                  <a:cubicBezTo>
                    <a:pt x="288790" y="213561"/>
                    <a:pt x="288220" y="222357"/>
                    <a:pt x="284194" y="232101"/>
                  </a:cubicBezTo>
                  <a:lnTo>
                    <a:pt x="280671" y="240628"/>
                  </a:lnTo>
                  <a:lnTo>
                    <a:pt x="237846" y="222932"/>
                  </a:lnTo>
                  <a:cubicBezTo>
                    <a:pt x="234591" y="232746"/>
                    <a:pt x="238627" y="239993"/>
                    <a:pt x="249953" y="244673"/>
                  </a:cubicBezTo>
                  <a:cubicBezTo>
                    <a:pt x="257176" y="247657"/>
                    <a:pt x="264229" y="248570"/>
                    <a:pt x="271113" y="247411"/>
                  </a:cubicBezTo>
                  <a:lnTo>
                    <a:pt x="265073" y="262028"/>
                  </a:lnTo>
                  <a:cubicBezTo>
                    <a:pt x="257662" y="262769"/>
                    <a:pt x="249105" y="261135"/>
                    <a:pt x="239403" y="257126"/>
                  </a:cubicBezTo>
                  <a:cubicBezTo>
                    <a:pt x="228804" y="252746"/>
                    <a:pt x="221791" y="246408"/>
                    <a:pt x="218364" y="238112"/>
                  </a:cubicBezTo>
                  <a:cubicBezTo>
                    <a:pt x="214937" y="229816"/>
                    <a:pt x="215395" y="220411"/>
                    <a:pt x="219740" y="209897"/>
                  </a:cubicBezTo>
                  <a:cubicBezTo>
                    <a:pt x="224243" y="198998"/>
                    <a:pt x="230973" y="191672"/>
                    <a:pt x="239930" y="187917"/>
                  </a:cubicBezTo>
                  <a:close/>
                  <a:moveTo>
                    <a:pt x="340189" y="180345"/>
                  </a:moveTo>
                  <a:lnTo>
                    <a:pt x="361442" y="185710"/>
                  </a:lnTo>
                  <a:lnTo>
                    <a:pt x="335703" y="287672"/>
                  </a:lnTo>
                  <a:lnTo>
                    <a:pt x="314450" y="282306"/>
                  </a:lnTo>
                  <a:close/>
                  <a:moveTo>
                    <a:pt x="759981" y="162054"/>
                  </a:moveTo>
                  <a:cubicBezTo>
                    <a:pt x="765768" y="164454"/>
                    <a:pt x="770999" y="169937"/>
                    <a:pt x="775672" y="178502"/>
                  </a:cubicBezTo>
                  <a:lnTo>
                    <a:pt x="796503" y="216682"/>
                  </a:lnTo>
                  <a:lnTo>
                    <a:pt x="777321" y="227148"/>
                  </a:lnTo>
                  <a:lnTo>
                    <a:pt x="758418" y="192499"/>
                  </a:lnTo>
                  <a:cubicBezTo>
                    <a:pt x="753146" y="182838"/>
                    <a:pt x="747060" y="179889"/>
                    <a:pt x="740159" y="183655"/>
                  </a:cubicBezTo>
                  <a:cubicBezTo>
                    <a:pt x="736830" y="185471"/>
                    <a:pt x="734787" y="188245"/>
                    <a:pt x="734031" y="191976"/>
                  </a:cubicBezTo>
                  <a:cubicBezTo>
                    <a:pt x="733275" y="195707"/>
                    <a:pt x="733971" y="199542"/>
                    <a:pt x="736120" y="203480"/>
                  </a:cubicBezTo>
                  <a:lnTo>
                    <a:pt x="755522" y="239041"/>
                  </a:lnTo>
                  <a:lnTo>
                    <a:pt x="736279" y="249540"/>
                  </a:lnTo>
                  <a:lnTo>
                    <a:pt x="702259" y="187185"/>
                  </a:lnTo>
                  <a:lnTo>
                    <a:pt x="721501" y="176687"/>
                  </a:lnTo>
                  <a:lnTo>
                    <a:pt x="726884" y="186551"/>
                  </a:lnTo>
                  <a:lnTo>
                    <a:pt x="727127" y="186419"/>
                  </a:lnTo>
                  <a:cubicBezTo>
                    <a:pt x="727573" y="176324"/>
                    <a:pt x="732180" y="168885"/>
                    <a:pt x="740948" y="164101"/>
                  </a:cubicBezTo>
                  <a:cubicBezTo>
                    <a:pt x="747850" y="160336"/>
                    <a:pt x="754194" y="159653"/>
                    <a:pt x="759981" y="162054"/>
                  </a:cubicBezTo>
                  <a:close/>
                  <a:moveTo>
                    <a:pt x="187450" y="128494"/>
                  </a:moveTo>
                  <a:lnTo>
                    <a:pt x="209320" y="134669"/>
                  </a:lnTo>
                  <a:lnTo>
                    <a:pt x="197981" y="153021"/>
                  </a:lnTo>
                  <a:lnTo>
                    <a:pt x="211553" y="161408"/>
                  </a:lnTo>
                  <a:lnTo>
                    <a:pt x="203057" y="175157"/>
                  </a:lnTo>
                  <a:lnTo>
                    <a:pt x="189485" y="166771"/>
                  </a:lnTo>
                  <a:lnTo>
                    <a:pt x="174390" y="191201"/>
                  </a:lnTo>
                  <a:cubicBezTo>
                    <a:pt x="170500" y="197496"/>
                    <a:pt x="171054" y="202186"/>
                    <a:pt x="176050" y="205274"/>
                  </a:cubicBezTo>
                  <a:cubicBezTo>
                    <a:pt x="178017" y="206489"/>
                    <a:pt x="180396" y="207170"/>
                    <a:pt x="183186" y="207318"/>
                  </a:cubicBezTo>
                  <a:lnTo>
                    <a:pt x="174653" y="221126"/>
                  </a:lnTo>
                  <a:cubicBezTo>
                    <a:pt x="171000" y="220880"/>
                    <a:pt x="166400" y="219044"/>
                    <a:pt x="160853" y="215616"/>
                  </a:cubicBezTo>
                  <a:cubicBezTo>
                    <a:pt x="147713" y="207497"/>
                    <a:pt x="145361" y="196612"/>
                    <a:pt x="153796" y="182961"/>
                  </a:cubicBezTo>
                  <a:lnTo>
                    <a:pt x="170897" y="155285"/>
                  </a:lnTo>
                  <a:lnTo>
                    <a:pt x="161101" y="149233"/>
                  </a:lnTo>
                  <a:lnTo>
                    <a:pt x="169597" y="135483"/>
                  </a:lnTo>
                  <a:lnTo>
                    <a:pt x="179392" y="141536"/>
                  </a:lnTo>
                  <a:close/>
                  <a:moveTo>
                    <a:pt x="837663" y="98436"/>
                  </a:moveTo>
                  <a:lnTo>
                    <a:pt x="849403" y="112850"/>
                  </a:lnTo>
                  <a:cubicBezTo>
                    <a:pt x="843692" y="113088"/>
                    <a:pt x="838649" y="114988"/>
                    <a:pt x="834275" y="118551"/>
                  </a:cubicBezTo>
                  <a:cubicBezTo>
                    <a:pt x="829398" y="122523"/>
                    <a:pt x="826696" y="127095"/>
                    <a:pt x="826167" y="132267"/>
                  </a:cubicBezTo>
                  <a:cubicBezTo>
                    <a:pt x="825638" y="137439"/>
                    <a:pt x="827418" y="142535"/>
                    <a:pt x="831506" y="147555"/>
                  </a:cubicBezTo>
                  <a:cubicBezTo>
                    <a:pt x="835478" y="152432"/>
                    <a:pt x="839958" y="155150"/>
                    <a:pt x="844946" y="155709"/>
                  </a:cubicBezTo>
                  <a:cubicBezTo>
                    <a:pt x="849934" y="156269"/>
                    <a:pt x="854813" y="154606"/>
                    <a:pt x="859582" y="150722"/>
                  </a:cubicBezTo>
                  <a:cubicBezTo>
                    <a:pt x="863813" y="147276"/>
                    <a:pt x="866874" y="142577"/>
                    <a:pt x="868765" y="136623"/>
                  </a:cubicBezTo>
                  <a:lnTo>
                    <a:pt x="879891" y="150285"/>
                  </a:lnTo>
                  <a:cubicBezTo>
                    <a:pt x="877865" y="155633"/>
                    <a:pt x="873231" y="161256"/>
                    <a:pt x="865988" y="167155"/>
                  </a:cubicBezTo>
                  <a:cubicBezTo>
                    <a:pt x="857525" y="174047"/>
                    <a:pt x="848589" y="177061"/>
                    <a:pt x="839178" y="176197"/>
                  </a:cubicBezTo>
                  <a:cubicBezTo>
                    <a:pt x="829766" y="175334"/>
                    <a:pt x="821761" y="170850"/>
                    <a:pt x="815161" y="162746"/>
                  </a:cubicBezTo>
                  <a:cubicBezTo>
                    <a:pt x="807539" y="153388"/>
                    <a:pt x="804336" y="143725"/>
                    <a:pt x="805552" y="133758"/>
                  </a:cubicBezTo>
                  <a:cubicBezTo>
                    <a:pt x="806769" y="123791"/>
                    <a:pt x="812074" y="114982"/>
                    <a:pt x="821469" y="107331"/>
                  </a:cubicBezTo>
                  <a:cubicBezTo>
                    <a:pt x="827959" y="102045"/>
                    <a:pt x="833357" y="99080"/>
                    <a:pt x="837663" y="98436"/>
                  </a:cubicBezTo>
                  <a:close/>
                  <a:moveTo>
                    <a:pt x="92789" y="68010"/>
                  </a:moveTo>
                  <a:lnTo>
                    <a:pt x="109146" y="82602"/>
                  </a:lnTo>
                  <a:lnTo>
                    <a:pt x="101666" y="90987"/>
                  </a:lnTo>
                  <a:lnTo>
                    <a:pt x="101873" y="91172"/>
                  </a:lnTo>
                  <a:cubicBezTo>
                    <a:pt x="111529" y="88198"/>
                    <a:pt x="120084" y="90035"/>
                    <a:pt x="127538" y="96685"/>
                  </a:cubicBezTo>
                  <a:cubicBezTo>
                    <a:pt x="139271" y="107152"/>
                    <a:pt x="138641" y="119667"/>
                    <a:pt x="125650" y="134229"/>
                  </a:cubicBezTo>
                  <a:lnTo>
                    <a:pt x="96697" y="166684"/>
                  </a:lnTo>
                  <a:lnTo>
                    <a:pt x="80392" y="152138"/>
                  </a:lnTo>
                  <a:lnTo>
                    <a:pt x="106667" y="122685"/>
                  </a:lnTo>
                  <a:cubicBezTo>
                    <a:pt x="113993" y="114472"/>
                    <a:pt x="114724" y="107749"/>
                    <a:pt x="108857" y="102516"/>
                  </a:cubicBezTo>
                  <a:cubicBezTo>
                    <a:pt x="106028" y="99991"/>
                    <a:pt x="102728" y="99000"/>
                    <a:pt x="98960" y="99543"/>
                  </a:cubicBezTo>
                  <a:cubicBezTo>
                    <a:pt x="95192" y="100085"/>
                    <a:pt x="91814" y="102030"/>
                    <a:pt x="88828" y="105377"/>
                  </a:cubicBezTo>
                  <a:lnTo>
                    <a:pt x="61861" y="135607"/>
                  </a:lnTo>
                  <a:lnTo>
                    <a:pt x="45504" y="121015"/>
                  </a:lnTo>
                  <a:close/>
                  <a:moveTo>
                    <a:pt x="895276" y="57554"/>
                  </a:moveTo>
                  <a:cubicBezTo>
                    <a:pt x="892006" y="57472"/>
                    <a:pt x="889036" y="58997"/>
                    <a:pt x="886367" y="62130"/>
                  </a:cubicBezTo>
                  <a:cubicBezTo>
                    <a:pt x="884088" y="64806"/>
                    <a:pt x="883226" y="68065"/>
                    <a:pt x="883779" y="71908"/>
                  </a:cubicBezTo>
                  <a:cubicBezTo>
                    <a:pt x="884333" y="75751"/>
                    <a:pt x="886085" y="79293"/>
                    <a:pt x="889034" y="82534"/>
                  </a:cubicBezTo>
                  <a:lnTo>
                    <a:pt x="905991" y="62626"/>
                  </a:lnTo>
                  <a:cubicBezTo>
                    <a:pt x="902119" y="59327"/>
                    <a:pt x="898547" y="57637"/>
                    <a:pt x="895276" y="57554"/>
                  </a:cubicBezTo>
                  <a:close/>
                  <a:moveTo>
                    <a:pt x="897818" y="40128"/>
                  </a:moveTo>
                  <a:cubicBezTo>
                    <a:pt x="906173" y="39804"/>
                    <a:pt x="914364" y="43060"/>
                    <a:pt x="922391" y="49897"/>
                  </a:cubicBezTo>
                  <a:lnTo>
                    <a:pt x="929415" y="55879"/>
                  </a:lnTo>
                  <a:lnTo>
                    <a:pt x="899369" y="91154"/>
                  </a:lnTo>
                  <a:cubicBezTo>
                    <a:pt x="907699" y="97278"/>
                    <a:pt x="915838" y="95675"/>
                    <a:pt x="923784" y="86346"/>
                  </a:cubicBezTo>
                  <a:cubicBezTo>
                    <a:pt x="928852" y="80396"/>
                    <a:pt x="931896" y="73969"/>
                    <a:pt x="932918" y="67064"/>
                  </a:cubicBezTo>
                  <a:lnTo>
                    <a:pt x="944958" y="77319"/>
                  </a:lnTo>
                  <a:cubicBezTo>
                    <a:pt x="943376" y="84597"/>
                    <a:pt x="939181" y="92232"/>
                    <a:pt x="932374" y="100223"/>
                  </a:cubicBezTo>
                  <a:cubicBezTo>
                    <a:pt x="924938" y="108954"/>
                    <a:pt x="916745" y="113669"/>
                    <a:pt x="907797" y="114369"/>
                  </a:cubicBezTo>
                  <a:cubicBezTo>
                    <a:pt x="898848" y="115070"/>
                    <a:pt x="890043" y="111731"/>
                    <a:pt x="881383" y="104355"/>
                  </a:cubicBezTo>
                  <a:cubicBezTo>
                    <a:pt x="872405" y="96708"/>
                    <a:pt x="867513" y="88046"/>
                    <a:pt x="866705" y="78368"/>
                  </a:cubicBezTo>
                  <a:cubicBezTo>
                    <a:pt x="865898" y="68690"/>
                    <a:pt x="868732" y="60048"/>
                    <a:pt x="875209" y="52444"/>
                  </a:cubicBezTo>
                  <a:cubicBezTo>
                    <a:pt x="881926" y="44558"/>
                    <a:pt x="889462" y="40453"/>
                    <a:pt x="897818" y="40128"/>
                  </a:cubicBezTo>
                  <a:close/>
                  <a:moveTo>
                    <a:pt x="77760" y="0"/>
                  </a:moveTo>
                  <a:lnTo>
                    <a:pt x="91733" y="17515"/>
                  </a:lnTo>
                  <a:lnTo>
                    <a:pt x="13972" y="79547"/>
                  </a:lnTo>
                  <a:lnTo>
                    <a:pt x="0" y="62032"/>
                  </a:lnTo>
                  <a:close/>
                </a:path>
              </a:pathLst>
            </a:custGeom>
            <a:solidFill>
              <a:schemeClr val="bg1"/>
            </a:solidFill>
            <a:ln>
              <a:noFill/>
              <a:headEnd type="none" w="med" len="med"/>
              <a:tailEnd type="none" w="med" len="med"/>
            </a:ln>
            <a:effectLst/>
            <a:sp3d>
              <a:bevelB/>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8" name="DATA">
            <a:extLst>
              <a:ext uri="{FF2B5EF4-FFF2-40B4-BE49-F238E27FC236}">
                <a16:creationId xmlns:a16="http://schemas.microsoft.com/office/drawing/2014/main" id="{223E74BA-A4BE-4EBF-A27C-51CEFFE1EA8F}"/>
              </a:ext>
            </a:extLst>
          </p:cNvPr>
          <p:cNvGrpSpPr/>
          <p:nvPr/>
        </p:nvGrpSpPr>
        <p:grpSpPr>
          <a:xfrm>
            <a:off x="5726919" y="323796"/>
            <a:ext cx="734922" cy="734922"/>
            <a:chOff x="5745459" y="3239555"/>
            <a:chExt cx="734922" cy="734922"/>
          </a:xfrm>
          <a:scene3d>
            <a:camera prst="perspectiveRelaxed">
              <a:rot lat="17100000" lon="0" rev="0"/>
            </a:camera>
            <a:lightRig rig="threePt" dir="t"/>
          </a:scene3d>
        </p:grpSpPr>
        <p:sp>
          <p:nvSpPr>
            <p:cNvPr id="179" name="circle1">
              <a:extLst>
                <a:ext uri="{FF2B5EF4-FFF2-40B4-BE49-F238E27FC236}">
                  <a16:creationId xmlns:a16="http://schemas.microsoft.com/office/drawing/2014/main" id="{FFDA5B7D-38F1-4587-A3FE-D4C4EA87ED22}"/>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180" name="circle1">
              <a:extLst>
                <a:ext uri="{FF2B5EF4-FFF2-40B4-BE49-F238E27FC236}">
                  <a16:creationId xmlns:a16="http://schemas.microsoft.com/office/drawing/2014/main" id="{CD2D416E-7435-4FE6-810A-82049661D63E}"/>
                </a:ext>
              </a:extLst>
            </p:cNvPr>
            <p:cNvSpPr/>
            <p:nvPr/>
          </p:nvSpPr>
          <p:spPr bwMode="auto">
            <a:xfrm flipH="1">
              <a:off x="5767712" y="3261807"/>
              <a:ext cx="690417" cy="690418"/>
            </a:xfrm>
            <a:prstGeom prst="ellipse">
              <a:avLst/>
            </a:prstGeom>
            <a:solidFill>
              <a:srgbClr val="3C3C41"/>
            </a:solidFill>
            <a:ln w="57150" cap="flat" cmpd="sng" algn="ctr">
              <a:noFill/>
              <a:prstDash val="solid"/>
            </a:ln>
            <a:effectLst>
              <a:outerShdw blurRad="254000" dist="50800" dir="2700000" sx="101000" sy="101000" algn="tl" rotWithShape="0">
                <a:prstClr val="black">
                  <a:alpha val="35000"/>
                </a:prstClr>
              </a:outerShdw>
            </a:effectLst>
            <a:sp3d>
              <a:bevelB/>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181" name="Freeform: Shape 180">
              <a:extLst>
                <a:ext uri="{FF2B5EF4-FFF2-40B4-BE49-F238E27FC236}">
                  <a16:creationId xmlns:a16="http://schemas.microsoft.com/office/drawing/2014/main" id="{2ECF1E49-0795-4D39-A7A8-E586776EBE9B}"/>
                </a:ext>
              </a:extLst>
            </p:cNvPr>
            <p:cNvSpPr/>
            <p:nvPr/>
          </p:nvSpPr>
          <p:spPr bwMode="auto">
            <a:xfrm>
              <a:off x="5789743" y="3277146"/>
              <a:ext cx="654016" cy="6597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31000"/>
              </a:srgbClr>
            </a:solidFill>
            <a:ln w="9525" cap="flat" cmpd="sng" algn="ctr">
              <a:noFill/>
              <a:prstDash val="solid"/>
              <a:headEnd type="none" w="med" len="med"/>
              <a:tailEnd type="none" w="med" len="med"/>
            </a:ln>
            <a:effectLst/>
            <a:sp3d>
              <a:bevelB/>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Freeform: Shape 181">
              <a:extLst>
                <a:ext uri="{FF2B5EF4-FFF2-40B4-BE49-F238E27FC236}">
                  <a16:creationId xmlns:a16="http://schemas.microsoft.com/office/drawing/2014/main" id="{E273E399-3DB5-4048-9C23-68894AA246B9}"/>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chemeClr val="bg1"/>
            </a:solidFill>
            <a:ln>
              <a:noFill/>
              <a:headEnd type="none" w="med" len="med"/>
              <a:tailEnd type="none" w="med" len="med"/>
            </a:ln>
            <a:sp3d>
              <a:bevelB/>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194" name="INTELLIGENCE">
            <a:extLst>
              <a:ext uri="{FF2B5EF4-FFF2-40B4-BE49-F238E27FC236}">
                <a16:creationId xmlns:a16="http://schemas.microsoft.com/office/drawing/2014/main" id="{6A1AC4A4-E849-4B52-BFFF-0FB0EE06DA57}"/>
              </a:ext>
            </a:extLst>
          </p:cNvPr>
          <p:cNvGrpSpPr/>
          <p:nvPr/>
        </p:nvGrpSpPr>
        <p:grpSpPr>
          <a:xfrm>
            <a:off x="5470397" y="7010264"/>
            <a:ext cx="1260143" cy="1260143"/>
            <a:chOff x="5482849" y="2976945"/>
            <a:chExt cx="1260143" cy="1260143"/>
          </a:xfrm>
          <a:scene3d>
            <a:camera prst="perspectiveFront">
              <a:rot lat="17100000" lon="0" rev="0"/>
            </a:camera>
            <a:lightRig rig="threePt" dir="t"/>
          </a:scene3d>
        </p:grpSpPr>
        <p:sp>
          <p:nvSpPr>
            <p:cNvPr id="195" name="Oval 194">
              <a:extLst>
                <a:ext uri="{FF2B5EF4-FFF2-40B4-BE49-F238E27FC236}">
                  <a16:creationId xmlns:a16="http://schemas.microsoft.com/office/drawing/2014/main" id="{A371DDE5-5DBE-45AC-AF5A-FA706BBA1A8B}"/>
                </a:ext>
              </a:extLst>
            </p:cNvPr>
            <p:cNvSpPr/>
            <p:nvPr/>
          </p:nvSpPr>
          <p:spPr bwMode="auto">
            <a:xfrm>
              <a:off x="5482849" y="2976945"/>
              <a:ext cx="1260143" cy="1260143"/>
            </a:xfrm>
            <a:prstGeom prst="ellipse">
              <a:avLst/>
            </a:prstGeom>
            <a:solidFill>
              <a:srgbClr val="008272"/>
            </a:solidFill>
            <a:ln w="9525" cap="flat" cmpd="sng" algn="ctr">
              <a:noFill/>
              <a:prstDash val="solid"/>
              <a:headEnd type="none" w="med" len="med"/>
              <a:tailEnd type="none" w="med" len="med"/>
            </a:ln>
            <a:effectLst/>
            <a:sp3d>
              <a:bevelB/>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Freeform: Shape 195">
              <a:extLst>
                <a:ext uri="{FF2B5EF4-FFF2-40B4-BE49-F238E27FC236}">
                  <a16:creationId xmlns:a16="http://schemas.microsoft.com/office/drawing/2014/main" id="{DF2CD69F-5C2E-44A4-AEFD-9C26709E0BB2}"/>
                </a:ext>
              </a:extLst>
            </p:cNvPr>
            <p:cNvSpPr/>
            <p:nvPr/>
          </p:nvSpPr>
          <p:spPr bwMode="auto">
            <a:xfrm>
              <a:off x="5696726" y="3875517"/>
              <a:ext cx="832388" cy="294839"/>
            </a:xfrm>
            <a:custGeom>
              <a:avLst/>
              <a:gdLst/>
              <a:ahLst/>
              <a:cxnLst/>
              <a:rect l="l" t="t" r="r" b="b"/>
              <a:pathLst>
                <a:path w="944958" h="334712">
                  <a:moveTo>
                    <a:pt x="554645" y="244324"/>
                  </a:moveTo>
                  <a:cubicBezTo>
                    <a:pt x="549827" y="244931"/>
                    <a:pt x="546278" y="247288"/>
                    <a:pt x="543999" y="251397"/>
                  </a:cubicBezTo>
                  <a:cubicBezTo>
                    <a:pt x="541719" y="255505"/>
                    <a:pt x="541009" y="260978"/>
                    <a:pt x="541869" y="267815"/>
                  </a:cubicBezTo>
                  <a:cubicBezTo>
                    <a:pt x="542608" y="273688"/>
                    <a:pt x="544500" y="278169"/>
                    <a:pt x="547546" y="281258"/>
                  </a:cubicBezTo>
                  <a:cubicBezTo>
                    <a:pt x="550591" y="284347"/>
                    <a:pt x="554385" y="285606"/>
                    <a:pt x="558927" y="285035"/>
                  </a:cubicBezTo>
                  <a:cubicBezTo>
                    <a:pt x="563424" y="284469"/>
                    <a:pt x="566842" y="282279"/>
                    <a:pt x="569182" y="278466"/>
                  </a:cubicBezTo>
                  <a:cubicBezTo>
                    <a:pt x="571522" y="274653"/>
                    <a:pt x="572335" y="269901"/>
                    <a:pt x="571619" y="264212"/>
                  </a:cubicBezTo>
                  <a:lnTo>
                    <a:pt x="570917" y="258637"/>
                  </a:lnTo>
                  <a:cubicBezTo>
                    <a:pt x="570358" y="254186"/>
                    <a:pt x="568561" y="250556"/>
                    <a:pt x="565527" y="247744"/>
                  </a:cubicBezTo>
                  <a:cubicBezTo>
                    <a:pt x="562493" y="244933"/>
                    <a:pt x="558866" y="243793"/>
                    <a:pt x="554645" y="244324"/>
                  </a:cubicBezTo>
                  <a:close/>
                  <a:moveTo>
                    <a:pt x="454349" y="233687"/>
                  </a:moveTo>
                  <a:lnTo>
                    <a:pt x="476261" y="234271"/>
                  </a:lnTo>
                  <a:lnTo>
                    <a:pt x="474369" y="305277"/>
                  </a:lnTo>
                  <a:lnTo>
                    <a:pt x="452457" y="304693"/>
                  </a:lnTo>
                  <a:close/>
                  <a:moveTo>
                    <a:pt x="588486" y="224896"/>
                  </a:moveTo>
                  <a:lnTo>
                    <a:pt x="596339" y="287319"/>
                  </a:lnTo>
                  <a:cubicBezTo>
                    <a:pt x="597984" y="300396"/>
                    <a:pt x="595473" y="311001"/>
                    <a:pt x="588806" y="319134"/>
                  </a:cubicBezTo>
                  <a:cubicBezTo>
                    <a:pt x="582138" y="327267"/>
                    <a:pt x="571624" y="332237"/>
                    <a:pt x="557263" y="334044"/>
                  </a:cubicBezTo>
                  <a:cubicBezTo>
                    <a:pt x="547765" y="335239"/>
                    <a:pt x="540070" y="334832"/>
                    <a:pt x="534178" y="332823"/>
                  </a:cubicBezTo>
                  <a:lnTo>
                    <a:pt x="531874" y="314516"/>
                  </a:lnTo>
                  <a:cubicBezTo>
                    <a:pt x="539655" y="317825"/>
                    <a:pt x="547239" y="319015"/>
                    <a:pt x="554626" y="318086"/>
                  </a:cubicBezTo>
                  <a:cubicBezTo>
                    <a:pt x="561967" y="317162"/>
                    <a:pt x="567413" y="314508"/>
                    <a:pt x="570963" y="310123"/>
                  </a:cubicBezTo>
                  <a:cubicBezTo>
                    <a:pt x="574513" y="305738"/>
                    <a:pt x="575869" y="300219"/>
                    <a:pt x="575032" y="293565"/>
                  </a:cubicBezTo>
                  <a:lnTo>
                    <a:pt x="574331" y="287991"/>
                  </a:lnTo>
                  <a:lnTo>
                    <a:pt x="574055" y="288025"/>
                  </a:lnTo>
                  <a:cubicBezTo>
                    <a:pt x="570093" y="296541"/>
                    <a:pt x="563271" y="301407"/>
                    <a:pt x="553590" y="302625"/>
                  </a:cubicBezTo>
                  <a:cubicBezTo>
                    <a:pt x="544597" y="303757"/>
                    <a:pt x="537064" y="301488"/>
                    <a:pt x="530991" y="295820"/>
                  </a:cubicBezTo>
                  <a:cubicBezTo>
                    <a:pt x="524917" y="290152"/>
                    <a:pt x="521211" y="281996"/>
                    <a:pt x="519872" y="271351"/>
                  </a:cubicBezTo>
                  <a:cubicBezTo>
                    <a:pt x="518371" y="259422"/>
                    <a:pt x="520116" y="249577"/>
                    <a:pt x="525106" y="241818"/>
                  </a:cubicBezTo>
                  <a:cubicBezTo>
                    <a:pt x="530095" y="234059"/>
                    <a:pt x="537385" y="229577"/>
                    <a:pt x="546975" y="228370"/>
                  </a:cubicBezTo>
                  <a:cubicBezTo>
                    <a:pt x="555555" y="227291"/>
                    <a:pt x="562394" y="229786"/>
                    <a:pt x="567492" y="235857"/>
                  </a:cubicBezTo>
                  <a:lnTo>
                    <a:pt x="567768" y="235822"/>
                  </a:lnTo>
                  <a:lnTo>
                    <a:pt x="566737" y="227632"/>
                  </a:lnTo>
                  <a:close/>
                  <a:moveTo>
                    <a:pt x="650797" y="220152"/>
                  </a:moveTo>
                  <a:cubicBezTo>
                    <a:pt x="647452" y="221230"/>
                    <a:pt x="645005" y="223549"/>
                    <a:pt x="643455" y="227109"/>
                  </a:cubicBezTo>
                  <a:cubicBezTo>
                    <a:pt x="641906" y="230669"/>
                    <a:pt x="641534" y="234603"/>
                    <a:pt x="642339" y="238911"/>
                  </a:cubicBezTo>
                  <a:lnTo>
                    <a:pt x="667230" y="230890"/>
                  </a:lnTo>
                  <a:cubicBezTo>
                    <a:pt x="664110" y="221207"/>
                    <a:pt x="658632" y="217627"/>
                    <a:pt x="650797" y="220152"/>
                  </a:cubicBezTo>
                  <a:close/>
                  <a:moveTo>
                    <a:pt x="646398" y="206046"/>
                  </a:moveTo>
                  <a:cubicBezTo>
                    <a:pt x="656257" y="202869"/>
                    <a:pt x="664826" y="203339"/>
                    <a:pt x="672104" y="207456"/>
                  </a:cubicBezTo>
                  <a:cubicBezTo>
                    <a:pt x="679383" y="211572"/>
                    <a:pt x="684639" y="218649"/>
                    <a:pt x="687873" y="228684"/>
                  </a:cubicBezTo>
                  <a:lnTo>
                    <a:pt x="690702" y="237465"/>
                  </a:lnTo>
                  <a:lnTo>
                    <a:pt x="646598" y="251677"/>
                  </a:lnTo>
                  <a:cubicBezTo>
                    <a:pt x="650466" y="261265"/>
                    <a:pt x="658231" y="264180"/>
                    <a:pt x="669895" y="260422"/>
                  </a:cubicBezTo>
                  <a:cubicBezTo>
                    <a:pt x="677334" y="258025"/>
                    <a:pt x="683303" y="254158"/>
                    <a:pt x="687802" y="248821"/>
                  </a:cubicBezTo>
                  <a:lnTo>
                    <a:pt x="692653" y="263875"/>
                  </a:lnTo>
                  <a:cubicBezTo>
                    <a:pt x="687481" y="269234"/>
                    <a:pt x="679899" y="273523"/>
                    <a:pt x="669907" y="276743"/>
                  </a:cubicBezTo>
                  <a:cubicBezTo>
                    <a:pt x="658991" y="280260"/>
                    <a:pt x="649543" y="279965"/>
                    <a:pt x="641563" y="275856"/>
                  </a:cubicBezTo>
                  <a:cubicBezTo>
                    <a:pt x="633582" y="271746"/>
                    <a:pt x="627848" y="264278"/>
                    <a:pt x="624359" y="253450"/>
                  </a:cubicBezTo>
                  <a:cubicBezTo>
                    <a:pt x="620742" y="242226"/>
                    <a:pt x="621134" y="232285"/>
                    <a:pt x="625535" y="223628"/>
                  </a:cubicBezTo>
                  <a:cubicBezTo>
                    <a:pt x="629936" y="214970"/>
                    <a:pt x="636890" y="209110"/>
                    <a:pt x="646398" y="206046"/>
                  </a:cubicBezTo>
                  <a:close/>
                  <a:moveTo>
                    <a:pt x="261442" y="201610"/>
                  </a:moveTo>
                  <a:cubicBezTo>
                    <a:pt x="258194" y="200268"/>
                    <a:pt x="254827" y="200453"/>
                    <a:pt x="251343" y="202165"/>
                  </a:cubicBezTo>
                  <a:cubicBezTo>
                    <a:pt x="247858" y="203878"/>
                    <a:pt x="245029" y="206637"/>
                    <a:pt x="242857" y="210442"/>
                  </a:cubicBezTo>
                  <a:lnTo>
                    <a:pt x="267026" y="220429"/>
                  </a:lnTo>
                  <a:cubicBezTo>
                    <a:pt x="270911" y="211026"/>
                    <a:pt x="269050" y="204753"/>
                    <a:pt x="261442" y="201610"/>
                  </a:cubicBezTo>
                  <a:close/>
                  <a:moveTo>
                    <a:pt x="466344" y="200213"/>
                  </a:moveTo>
                  <a:cubicBezTo>
                    <a:pt x="470088" y="200313"/>
                    <a:pt x="473100" y="201434"/>
                    <a:pt x="475379" y="203576"/>
                  </a:cubicBezTo>
                  <a:cubicBezTo>
                    <a:pt x="477658" y="205719"/>
                    <a:pt x="478754" y="208431"/>
                    <a:pt x="478667" y="211713"/>
                  </a:cubicBezTo>
                  <a:cubicBezTo>
                    <a:pt x="478578" y="215042"/>
                    <a:pt x="477338" y="217738"/>
                    <a:pt x="474947" y="219802"/>
                  </a:cubicBezTo>
                  <a:cubicBezTo>
                    <a:pt x="472556" y="221866"/>
                    <a:pt x="469488" y="222849"/>
                    <a:pt x="465743" y="222749"/>
                  </a:cubicBezTo>
                  <a:cubicBezTo>
                    <a:pt x="462045" y="222650"/>
                    <a:pt x="459047" y="221472"/>
                    <a:pt x="456747" y="219213"/>
                  </a:cubicBezTo>
                  <a:cubicBezTo>
                    <a:pt x="454448" y="216954"/>
                    <a:pt x="453341" y="214230"/>
                    <a:pt x="453426" y="211040"/>
                  </a:cubicBezTo>
                  <a:cubicBezTo>
                    <a:pt x="453514" y="207758"/>
                    <a:pt x="454764" y="205108"/>
                    <a:pt x="457177" y="203091"/>
                  </a:cubicBezTo>
                  <a:cubicBezTo>
                    <a:pt x="459590" y="201074"/>
                    <a:pt x="462646" y="200114"/>
                    <a:pt x="466344" y="200213"/>
                  </a:cubicBezTo>
                  <a:close/>
                  <a:moveTo>
                    <a:pt x="401554" y="193900"/>
                  </a:moveTo>
                  <a:lnTo>
                    <a:pt x="423269" y="196889"/>
                  </a:lnTo>
                  <a:lnTo>
                    <a:pt x="408932" y="301067"/>
                  </a:lnTo>
                  <a:lnTo>
                    <a:pt x="387217" y="298078"/>
                  </a:lnTo>
                  <a:close/>
                  <a:moveTo>
                    <a:pt x="239930" y="187917"/>
                  </a:moveTo>
                  <a:cubicBezTo>
                    <a:pt x="248887" y="184163"/>
                    <a:pt x="257981" y="184193"/>
                    <a:pt x="267213" y="188007"/>
                  </a:cubicBezTo>
                  <a:cubicBezTo>
                    <a:pt x="276786" y="191963"/>
                    <a:pt x="283017" y="197865"/>
                    <a:pt x="285903" y="205713"/>
                  </a:cubicBezTo>
                  <a:cubicBezTo>
                    <a:pt x="288790" y="213561"/>
                    <a:pt x="288220" y="222357"/>
                    <a:pt x="284194" y="232101"/>
                  </a:cubicBezTo>
                  <a:lnTo>
                    <a:pt x="280671" y="240628"/>
                  </a:lnTo>
                  <a:lnTo>
                    <a:pt x="237846" y="222932"/>
                  </a:lnTo>
                  <a:cubicBezTo>
                    <a:pt x="234591" y="232746"/>
                    <a:pt x="238627" y="239993"/>
                    <a:pt x="249953" y="244673"/>
                  </a:cubicBezTo>
                  <a:cubicBezTo>
                    <a:pt x="257176" y="247657"/>
                    <a:pt x="264229" y="248570"/>
                    <a:pt x="271113" y="247411"/>
                  </a:cubicBezTo>
                  <a:lnTo>
                    <a:pt x="265073" y="262028"/>
                  </a:lnTo>
                  <a:cubicBezTo>
                    <a:pt x="257662" y="262769"/>
                    <a:pt x="249105" y="261135"/>
                    <a:pt x="239403" y="257126"/>
                  </a:cubicBezTo>
                  <a:cubicBezTo>
                    <a:pt x="228804" y="252746"/>
                    <a:pt x="221791" y="246408"/>
                    <a:pt x="218364" y="238112"/>
                  </a:cubicBezTo>
                  <a:cubicBezTo>
                    <a:pt x="214937" y="229816"/>
                    <a:pt x="215395" y="220411"/>
                    <a:pt x="219740" y="209897"/>
                  </a:cubicBezTo>
                  <a:cubicBezTo>
                    <a:pt x="224243" y="198998"/>
                    <a:pt x="230973" y="191672"/>
                    <a:pt x="239930" y="187917"/>
                  </a:cubicBezTo>
                  <a:close/>
                  <a:moveTo>
                    <a:pt x="340189" y="180345"/>
                  </a:moveTo>
                  <a:lnTo>
                    <a:pt x="361442" y="185710"/>
                  </a:lnTo>
                  <a:lnTo>
                    <a:pt x="335703" y="287672"/>
                  </a:lnTo>
                  <a:lnTo>
                    <a:pt x="314450" y="282306"/>
                  </a:lnTo>
                  <a:close/>
                  <a:moveTo>
                    <a:pt x="759981" y="162054"/>
                  </a:moveTo>
                  <a:cubicBezTo>
                    <a:pt x="765768" y="164454"/>
                    <a:pt x="770999" y="169937"/>
                    <a:pt x="775672" y="178502"/>
                  </a:cubicBezTo>
                  <a:lnTo>
                    <a:pt x="796503" y="216682"/>
                  </a:lnTo>
                  <a:lnTo>
                    <a:pt x="777321" y="227148"/>
                  </a:lnTo>
                  <a:lnTo>
                    <a:pt x="758418" y="192499"/>
                  </a:lnTo>
                  <a:cubicBezTo>
                    <a:pt x="753146" y="182838"/>
                    <a:pt x="747060" y="179889"/>
                    <a:pt x="740159" y="183655"/>
                  </a:cubicBezTo>
                  <a:cubicBezTo>
                    <a:pt x="736830" y="185471"/>
                    <a:pt x="734787" y="188245"/>
                    <a:pt x="734031" y="191976"/>
                  </a:cubicBezTo>
                  <a:cubicBezTo>
                    <a:pt x="733275" y="195707"/>
                    <a:pt x="733971" y="199542"/>
                    <a:pt x="736120" y="203480"/>
                  </a:cubicBezTo>
                  <a:lnTo>
                    <a:pt x="755522" y="239041"/>
                  </a:lnTo>
                  <a:lnTo>
                    <a:pt x="736279" y="249540"/>
                  </a:lnTo>
                  <a:lnTo>
                    <a:pt x="702259" y="187185"/>
                  </a:lnTo>
                  <a:lnTo>
                    <a:pt x="721501" y="176687"/>
                  </a:lnTo>
                  <a:lnTo>
                    <a:pt x="726884" y="186551"/>
                  </a:lnTo>
                  <a:lnTo>
                    <a:pt x="727127" y="186419"/>
                  </a:lnTo>
                  <a:cubicBezTo>
                    <a:pt x="727573" y="176324"/>
                    <a:pt x="732180" y="168885"/>
                    <a:pt x="740948" y="164101"/>
                  </a:cubicBezTo>
                  <a:cubicBezTo>
                    <a:pt x="747850" y="160336"/>
                    <a:pt x="754194" y="159653"/>
                    <a:pt x="759981" y="162054"/>
                  </a:cubicBezTo>
                  <a:close/>
                  <a:moveTo>
                    <a:pt x="187450" y="128494"/>
                  </a:moveTo>
                  <a:lnTo>
                    <a:pt x="209320" y="134669"/>
                  </a:lnTo>
                  <a:lnTo>
                    <a:pt x="197981" y="153021"/>
                  </a:lnTo>
                  <a:lnTo>
                    <a:pt x="211553" y="161408"/>
                  </a:lnTo>
                  <a:lnTo>
                    <a:pt x="203057" y="175157"/>
                  </a:lnTo>
                  <a:lnTo>
                    <a:pt x="189485" y="166771"/>
                  </a:lnTo>
                  <a:lnTo>
                    <a:pt x="174390" y="191201"/>
                  </a:lnTo>
                  <a:cubicBezTo>
                    <a:pt x="170500" y="197496"/>
                    <a:pt x="171054" y="202186"/>
                    <a:pt x="176050" y="205274"/>
                  </a:cubicBezTo>
                  <a:cubicBezTo>
                    <a:pt x="178017" y="206489"/>
                    <a:pt x="180396" y="207170"/>
                    <a:pt x="183186" y="207318"/>
                  </a:cubicBezTo>
                  <a:lnTo>
                    <a:pt x="174653" y="221126"/>
                  </a:lnTo>
                  <a:cubicBezTo>
                    <a:pt x="171000" y="220880"/>
                    <a:pt x="166400" y="219044"/>
                    <a:pt x="160853" y="215616"/>
                  </a:cubicBezTo>
                  <a:cubicBezTo>
                    <a:pt x="147713" y="207497"/>
                    <a:pt x="145361" y="196612"/>
                    <a:pt x="153796" y="182961"/>
                  </a:cubicBezTo>
                  <a:lnTo>
                    <a:pt x="170897" y="155285"/>
                  </a:lnTo>
                  <a:lnTo>
                    <a:pt x="161101" y="149233"/>
                  </a:lnTo>
                  <a:lnTo>
                    <a:pt x="169597" y="135483"/>
                  </a:lnTo>
                  <a:lnTo>
                    <a:pt x="179392" y="141536"/>
                  </a:lnTo>
                  <a:close/>
                  <a:moveTo>
                    <a:pt x="837663" y="98436"/>
                  </a:moveTo>
                  <a:lnTo>
                    <a:pt x="849403" y="112850"/>
                  </a:lnTo>
                  <a:cubicBezTo>
                    <a:pt x="843692" y="113088"/>
                    <a:pt x="838649" y="114988"/>
                    <a:pt x="834275" y="118551"/>
                  </a:cubicBezTo>
                  <a:cubicBezTo>
                    <a:pt x="829398" y="122523"/>
                    <a:pt x="826696" y="127095"/>
                    <a:pt x="826167" y="132267"/>
                  </a:cubicBezTo>
                  <a:cubicBezTo>
                    <a:pt x="825638" y="137439"/>
                    <a:pt x="827418" y="142535"/>
                    <a:pt x="831506" y="147555"/>
                  </a:cubicBezTo>
                  <a:cubicBezTo>
                    <a:pt x="835478" y="152432"/>
                    <a:pt x="839958" y="155150"/>
                    <a:pt x="844946" y="155709"/>
                  </a:cubicBezTo>
                  <a:cubicBezTo>
                    <a:pt x="849934" y="156269"/>
                    <a:pt x="854813" y="154606"/>
                    <a:pt x="859582" y="150722"/>
                  </a:cubicBezTo>
                  <a:cubicBezTo>
                    <a:pt x="863813" y="147276"/>
                    <a:pt x="866874" y="142577"/>
                    <a:pt x="868765" y="136623"/>
                  </a:cubicBezTo>
                  <a:lnTo>
                    <a:pt x="879891" y="150285"/>
                  </a:lnTo>
                  <a:cubicBezTo>
                    <a:pt x="877865" y="155633"/>
                    <a:pt x="873231" y="161256"/>
                    <a:pt x="865988" y="167155"/>
                  </a:cubicBezTo>
                  <a:cubicBezTo>
                    <a:pt x="857525" y="174047"/>
                    <a:pt x="848589" y="177061"/>
                    <a:pt x="839178" y="176197"/>
                  </a:cubicBezTo>
                  <a:cubicBezTo>
                    <a:pt x="829766" y="175334"/>
                    <a:pt x="821761" y="170850"/>
                    <a:pt x="815161" y="162746"/>
                  </a:cubicBezTo>
                  <a:cubicBezTo>
                    <a:pt x="807539" y="153388"/>
                    <a:pt x="804336" y="143725"/>
                    <a:pt x="805552" y="133758"/>
                  </a:cubicBezTo>
                  <a:cubicBezTo>
                    <a:pt x="806769" y="123791"/>
                    <a:pt x="812074" y="114982"/>
                    <a:pt x="821469" y="107331"/>
                  </a:cubicBezTo>
                  <a:cubicBezTo>
                    <a:pt x="827959" y="102045"/>
                    <a:pt x="833357" y="99080"/>
                    <a:pt x="837663" y="98436"/>
                  </a:cubicBezTo>
                  <a:close/>
                  <a:moveTo>
                    <a:pt x="92789" y="68010"/>
                  </a:moveTo>
                  <a:lnTo>
                    <a:pt x="109146" y="82602"/>
                  </a:lnTo>
                  <a:lnTo>
                    <a:pt x="101666" y="90987"/>
                  </a:lnTo>
                  <a:lnTo>
                    <a:pt x="101873" y="91172"/>
                  </a:lnTo>
                  <a:cubicBezTo>
                    <a:pt x="111529" y="88198"/>
                    <a:pt x="120084" y="90035"/>
                    <a:pt x="127538" y="96685"/>
                  </a:cubicBezTo>
                  <a:cubicBezTo>
                    <a:pt x="139271" y="107152"/>
                    <a:pt x="138641" y="119667"/>
                    <a:pt x="125650" y="134229"/>
                  </a:cubicBezTo>
                  <a:lnTo>
                    <a:pt x="96697" y="166684"/>
                  </a:lnTo>
                  <a:lnTo>
                    <a:pt x="80392" y="152138"/>
                  </a:lnTo>
                  <a:lnTo>
                    <a:pt x="106667" y="122685"/>
                  </a:lnTo>
                  <a:cubicBezTo>
                    <a:pt x="113993" y="114472"/>
                    <a:pt x="114724" y="107749"/>
                    <a:pt x="108857" y="102516"/>
                  </a:cubicBezTo>
                  <a:cubicBezTo>
                    <a:pt x="106028" y="99991"/>
                    <a:pt x="102728" y="99000"/>
                    <a:pt x="98960" y="99543"/>
                  </a:cubicBezTo>
                  <a:cubicBezTo>
                    <a:pt x="95192" y="100085"/>
                    <a:pt x="91814" y="102030"/>
                    <a:pt x="88828" y="105377"/>
                  </a:cubicBezTo>
                  <a:lnTo>
                    <a:pt x="61861" y="135607"/>
                  </a:lnTo>
                  <a:lnTo>
                    <a:pt x="45504" y="121015"/>
                  </a:lnTo>
                  <a:close/>
                  <a:moveTo>
                    <a:pt x="895276" y="57554"/>
                  </a:moveTo>
                  <a:cubicBezTo>
                    <a:pt x="892006" y="57472"/>
                    <a:pt x="889036" y="58997"/>
                    <a:pt x="886367" y="62130"/>
                  </a:cubicBezTo>
                  <a:cubicBezTo>
                    <a:pt x="884088" y="64806"/>
                    <a:pt x="883226" y="68065"/>
                    <a:pt x="883779" y="71908"/>
                  </a:cubicBezTo>
                  <a:cubicBezTo>
                    <a:pt x="884333" y="75751"/>
                    <a:pt x="886085" y="79293"/>
                    <a:pt x="889034" y="82534"/>
                  </a:cubicBezTo>
                  <a:lnTo>
                    <a:pt x="905991" y="62626"/>
                  </a:lnTo>
                  <a:cubicBezTo>
                    <a:pt x="902119" y="59327"/>
                    <a:pt x="898547" y="57637"/>
                    <a:pt x="895276" y="57554"/>
                  </a:cubicBezTo>
                  <a:close/>
                  <a:moveTo>
                    <a:pt x="897818" y="40128"/>
                  </a:moveTo>
                  <a:cubicBezTo>
                    <a:pt x="906173" y="39804"/>
                    <a:pt x="914364" y="43060"/>
                    <a:pt x="922391" y="49897"/>
                  </a:cubicBezTo>
                  <a:lnTo>
                    <a:pt x="929415" y="55879"/>
                  </a:lnTo>
                  <a:lnTo>
                    <a:pt x="899369" y="91154"/>
                  </a:lnTo>
                  <a:cubicBezTo>
                    <a:pt x="907699" y="97278"/>
                    <a:pt x="915838" y="95675"/>
                    <a:pt x="923784" y="86346"/>
                  </a:cubicBezTo>
                  <a:cubicBezTo>
                    <a:pt x="928852" y="80396"/>
                    <a:pt x="931896" y="73969"/>
                    <a:pt x="932918" y="67064"/>
                  </a:cubicBezTo>
                  <a:lnTo>
                    <a:pt x="944958" y="77319"/>
                  </a:lnTo>
                  <a:cubicBezTo>
                    <a:pt x="943376" y="84597"/>
                    <a:pt x="939181" y="92232"/>
                    <a:pt x="932374" y="100223"/>
                  </a:cubicBezTo>
                  <a:cubicBezTo>
                    <a:pt x="924938" y="108954"/>
                    <a:pt x="916745" y="113669"/>
                    <a:pt x="907797" y="114369"/>
                  </a:cubicBezTo>
                  <a:cubicBezTo>
                    <a:pt x="898848" y="115070"/>
                    <a:pt x="890043" y="111731"/>
                    <a:pt x="881383" y="104355"/>
                  </a:cubicBezTo>
                  <a:cubicBezTo>
                    <a:pt x="872405" y="96708"/>
                    <a:pt x="867513" y="88046"/>
                    <a:pt x="866705" y="78368"/>
                  </a:cubicBezTo>
                  <a:cubicBezTo>
                    <a:pt x="865898" y="68690"/>
                    <a:pt x="868732" y="60048"/>
                    <a:pt x="875209" y="52444"/>
                  </a:cubicBezTo>
                  <a:cubicBezTo>
                    <a:pt x="881926" y="44558"/>
                    <a:pt x="889462" y="40453"/>
                    <a:pt x="897818" y="40128"/>
                  </a:cubicBezTo>
                  <a:close/>
                  <a:moveTo>
                    <a:pt x="77760" y="0"/>
                  </a:moveTo>
                  <a:lnTo>
                    <a:pt x="91733" y="17515"/>
                  </a:lnTo>
                  <a:lnTo>
                    <a:pt x="13972" y="79547"/>
                  </a:lnTo>
                  <a:lnTo>
                    <a:pt x="0" y="62032"/>
                  </a:lnTo>
                  <a:close/>
                </a:path>
              </a:pathLst>
            </a:custGeom>
            <a:solidFill>
              <a:schemeClr val="bg1"/>
            </a:solidFill>
            <a:ln>
              <a:noFill/>
              <a:headEnd type="none" w="med" len="med"/>
              <a:tailEnd type="none" w="med" len="med"/>
            </a:ln>
            <a:effectLst/>
            <a:sp3d>
              <a:bevelB/>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8" name="DATA">
            <a:extLst>
              <a:ext uri="{FF2B5EF4-FFF2-40B4-BE49-F238E27FC236}">
                <a16:creationId xmlns:a16="http://schemas.microsoft.com/office/drawing/2014/main" id="{50E98148-027B-43A2-BF11-BD90F35A2D64}"/>
              </a:ext>
            </a:extLst>
          </p:cNvPr>
          <p:cNvGrpSpPr/>
          <p:nvPr/>
        </p:nvGrpSpPr>
        <p:grpSpPr>
          <a:xfrm>
            <a:off x="5733007" y="7191878"/>
            <a:ext cx="734922" cy="734922"/>
            <a:chOff x="5745459" y="3239555"/>
            <a:chExt cx="734922" cy="734922"/>
          </a:xfrm>
          <a:scene3d>
            <a:camera prst="perspectiveRelaxed">
              <a:rot lat="17100000" lon="0" rev="0"/>
            </a:camera>
            <a:lightRig rig="threePt" dir="t"/>
          </a:scene3d>
        </p:grpSpPr>
        <p:sp>
          <p:nvSpPr>
            <p:cNvPr id="200" name="circle1">
              <a:extLst>
                <a:ext uri="{FF2B5EF4-FFF2-40B4-BE49-F238E27FC236}">
                  <a16:creationId xmlns:a16="http://schemas.microsoft.com/office/drawing/2014/main" id="{A416A1C4-2DD4-404A-9A3D-966B29C6BD7C}"/>
                </a:ext>
              </a:extLst>
            </p:cNvPr>
            <p:cNvSpPr/>
            <p:nvPr/>
          </p:nvSpPr>
          <p:spPr bwMode="auto">
            <a:xfrm flipH="1">
              <a:off x="5745459" y="3239555"/>
              <a:ext cx="734922" cy="734922"/>
            </a:xfrm>
            <a:prstGeom prst="ellipse">
              <a:avLst/>
            </a:prstGeom>
            <a:solidFill>
              <a:sysClr val="window" lastClr="FFFFFF"/>
            </a:solidFill>
            <a:ln w="57150" cap="flat" cmpd="sng" algn="ctr">
              <a:noFill/>
              <a:prstDash val="solid"/>
            </a:ln>
            <a:effectLst>
              <a:outerShdw blurRad="254000" dist="50800" dir="2700000" sx="101000" sy="101000" algn="tl" rotWithShape="0">
                <a:prstClr val="black">
                  <a:alpha val="35000"/>
                </a:prstClr>
              </a:outerShdw>
            </a:effectLst>
            <a:sp3d>
              <a:bevelB/>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01" name="circle1">
              <a:extLst>
                <a:ext uri="{FF2B5EF4-FFF2-40B4-BE49-F238E27FC236}">
                  <a16:creationId xmlns:a16="http://schemas.microsoft.com/office/drawing/2014/main" id="{535FB94B-31B1-465C-B044-410628AFF6BB}"/>
                </a:ext>
              </a:extLst>
            </p:cNvPr>
            <p:cNvSpPr/>
            <p:nvPr/>
          </p:nvSpPr>
          <p:spPr bwMode="auto">
            <a:xfrm flipH="1">
              <a:off x="5767712" y="3261807"/>
              <a:ext cx="690417" cy="690418"/>
            </a:xfrm>
            <a:prstGeom prst="ellipse">
              <a:avLst/>
            </a:prstGeom>
            <a:solidFill>
              <a:srgbClr val="3C3C41"/>
            </a:solidFill>
            <a:ln w="57150" cap="flat" cmpd="sng" algn="ctr">
              <a:noFill/>
              <a:prstDash val="solid"/>
            </a:ln>
            <a:effectLst>
              <a:outerShdw blurRad="254000" dist="50800" dir="2700000" sx="101000" sy="101000" algn="tl" rotWithShape="0">
                <a:prstClr val="black">
                  <a:alpha val="35000"/>
                </a:prstClr>
              </a:outerShdw>
            </a:effectLst>
            <a:sp3d>
              <a:bevelB/>
            </a:sp3d>
          </p:spPr>
          <p:txBody>
            <a:bodyPr vert="horz" wrap="square" lIns="0" tIns="46630" rIns="0" bIns="46630" numCol="1" rtlCol="0" anchor="ctr" anchorCtr="0" compatLnSpc="1">
              <a:prstTxWarp prst="textNoShape">
                <a:avLst/>
              </a:prstTxWarp>
            </a:bodyPr>
            <a:lstStyle/>
            <a:p>
              <a:pPr marL="0" marR="0" lvl="0" indent="0" algn="ctr" defTabSz="932256" rtl="0" eaLnBrk="1" fontAlgn="base" latinLnBrk="0" hangingPunct="1">
                <a:lnSpc>
                  <a:spcPct val="100000"/>
                </a:lnSpc>
                <a:spcBef>
                  <a:spcPct val="0"/>
                </a:spcBef>
                <a:spcAft>
                  <a:spcPct val="0"/>
                </a:spcAft>
                <a:buClrTx/>
                <a:buSzTx/>
                <a:buFontTx/>
                <a:buNone/>
                <a:tabLst/>
                <a:defRPr/>
              </a:pPr>
              <a:endParaRPr kumimoji="0" lang="en-US" sz="4400"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sp>
          <p:nvSpPr>
            <p:cNvPr id="202" name="Freeform: Shape 201">
              <a:extLst>
                <a:ext uri="{FF2B5EF4-FFF2-40B4-BE49-F238E27FC236}">
                  <a16:creationId xmlns:a16="http://schemas.microsoft.com/office/drawing/2014/main" id="{7D54F52E-4150-4C43-A422-18E147D5A33B}"/>
                </a:ext>
              </a:extLst>
            </p:cNvPr>
            <p:cNvSpPr/>
            <p:nvPr/>
          </p:nvSpPr>
          <p:spPr bwMode="auto">
            <a:xfrm>
              <a:off x="5789743" y="3277146"/>
              <a:ext cx="654016" cy="659759"/>
            </a:xfrm>
            <a:custGeom>
              <a:avLst/>
              <a:gdLst/>
              <a:ahLst/>
              <a:cxnLst/>
              <a:rect l="l" t="t" r="r" b="b"/>
              <a:pathLst>
                <a:path w="2121009" h="2139631">
                  <a:moveTo>
                    <a:pt x="1451967" y="1982391"/>
                  </a:moveTo>
                  <a:cubicBezTo>
                    <a:pt x="1476772" y="1982391"/>
                    <a:pt x="1495376" y="1991457"/>
                    <a:pt x="1507778" y="2009589"/>
                  </a:cubicBezTo>
                  <a:lnTo>
                    <a:pt x="1515028" y="2027255"/>
                  </a:lnTo>
                  <a:lnTo>
                    <a:pt x="1473690" y="2047168"/>
                  </a:lnTo>
                  <a:lnTo>
                    <a:pt x="1471315" y="2036862"/>
                  </a:lnTo>
                  <a:cubicBezTo>
                    <a:pt x="1466553" y="2024459"/>
                    <a:pt x="1459409" y="2018258"/>
                    <a:pt x="1449884" y="2018258"/>
                  </a:cubicBezTo>
                  <a:cubicBezTo>
                    <a:pt x="1434629" y="2018258"/>
                    <a:pt x="1425095" y="2032630"/>
                    <a:pt x="1421281" y="2061372"/>
                  </a:cubicBezTo>
                  <a:lnTo>
                    <a:pt x="1420892" y="2068207"/>
                  </a:lnTo>
                  <a:lnTo>
                    <a:pt x="1372679" y="2085854"/>
                  </a:lnTo>
                  <a:lnTo>
                    <a:pt x="1376753" y="2047187"/>
                  </a:lnTo>
                  <a:cubicBezTo>
                    <a:pt x="1380189" y="2033086"/>
                    <a:pt x="1385342" y="2021185"/>
                    <a:pt x="1392213" y="2011487"/>
                  </a:cubicBezTo>
                  <a:cubicBezTo>
                    <a:pt x="1405955" y="1992089"/>
                    <a:pt x="1425873" y="1982391"/>
                    <a:pt x="1451967" y="1982391"/>
                  </a:cubicBezTo>
                  <a:close/>
                  <a:moveTo>
                    <a:pt x="1109067" y="1982391"/>
                  </a:moveTo>
                  <a:cubicBezTo>
                    <a:pt x="1158677" y="1982391"/>
                    <a:pt x="1183482" y="2018655"/>
                    <a:pt x="1183482" y="2091184"/>
                  </a:cubicBezTo>
                  <a:lnTo>
                    <a:pt x="1179456" y="2129112"/>
                  </a:lnTo>
                  <a:lnTo>
                    <a:pt x="1147259" y="2134026"/>
                  </a:lnTo>
                  <a:lnTo>
                    <a:pt x="1131479" y="2134822"/>
                  </a:lnTo>
                  <a:lnTo>
                    <a:pt x="1133736" y="2125228"/>
                  </a:lnTo>
                  <a:cubicBezTo>
                    <a:pt x="1134951" y="2115927"/>
                    <a:pt x="1135559" y="2105075"/>
                    <a:pt x="1135559" y="2092672"/>
                  </a:cubicBezTo>
                  <a:cubicBezTo>
                    <a:pt x="1135559" y="2043063"/>
                    <a:pt x="1126034" y="2018258"/>
                    <a:pt x="1106984" y="2018258"/>
                  </a:cubicBezTo>
                  <a:cubicBezTo>
                    <a:pt x="1086644" y="2018258"/>
                    <a:pt x="1076474" y="2043807"/>
                    <a:pt x="1076474" y="2094905"/>
                  </a:cubicBezTo>
                  <a:cubicBezTo>
                    <a:pt x="1076474" y="2106935"/>
                    <a:pt x="1077097" y="2117462"/>
                    <a:pt x="1078344" y="2126485"/>
                  </a:cubicBezTo>
                  <a:lnTo>
                    <a:pt x="1081050" y="2137369"/>
                  </a:lnTo>
                  <a:lnTo>
                    <a:pt x="1036248" y="2139631"/>
                  </a:lnTo>
                  <a:lnTo>
                    <a:pt x="1033113" y="2139473"/>
                  </a:lnTo>
                  <a:lnTo>
                    <a:pt x="1028700" y="2096095"/>
                  </a:lnTo>
                  <a:cubicBezTo>
                    <a:pt x="1028700" y="2059087"/>
                    <a:pt x="1035571" y="2030884"/>
                    <a:pt x="1049313" y="2011487"/>
                  </a:cubicBezTo>
                  <a:cubicBezTo>
                    <a:pt x="1063055" y="1992089"/>
                    <a:pt x="1082973" y="1982391"/>
                    <a:pt x="1109067" y="1982391"/>
                  </a:cubicBezTo>
                  <a:close/>
                  <a:moveTo>
                    <a:pt x="766167" y="1982391"/>
                  </a:moveTo>
                  <a:cubicBezTo>
                    <a:pt x="815777" y="1982391"/>
                    <a:pt x="840582" y="2018655"/>
                    <a:pt x="840582" y="2091184"/>
                  </a:cubicBezTo>
                  <a:lnTo>
                    <a:pt x="837456" y="2120629"/>
                  </a:lnTo>
                  <a:lnTo>
                    <a:pt x="817433" y="2117573"/>
                  </a:lnTo>
                  <a:lnTo>
                    <a:pt x="791636" y="2110940"/>
                  </a:lnTo>
                  <a:lnTo>
                    <a:pt x="792659" y="2092672"/>
                  </a:lnTo>
                  <a:cubicBezTo>
                    <a:pt x="792659" y="2043063"/>
                    <a:pt x="783134" y="2018258"/>
                    <a:pt x="764084" y="2018258"/>
                  </a:cubicBezTo>
                  <a:cubicBezTo>
                    <a:pt x="743744" y="2018258"/>
                    <a:pt x="733574" y="2043807"/>
                    <a:pt x="733574" y="2094905"/>
                  </a:cubicBezTo>
                  <a:lnTo>
                    <a:pt x="733641" y="2096027"/>
                  </a:lnTo>
                  <a:lnTo>
                    <a:pt x="713381" y="2090818"/>
                  </a:lnTo>
                  <a:lnTo>
                    <a:pt x="687360" y="2081294"/>
                  </a:lnTo>
                  <a:lnTo>
                    <a:pt x="690953" y="2047187"/>
                  </a:lnTo>
                  <a:cubicBezTo>
                    <a:pt x="694389" y="2033086"/>
                    <a:pt x="699542" y="2021185"/>
                    <a:pt x="706413" y="2011487"/>
                  </a:cubicBezTo>
                  <a:cubicBezTo>
                    <a:pt x="720155" y="1992089"/>
                    <a:pt x="740073" y="1982391"/>
                    <a:pt x="766167" y="1982391"/>
                  </a:cubicBezTo>
                  <a:close/>
                  <a:moveTo>
                    <a:pt x="1285280" y="1981200"/>
                  </a:moveTo>
                  <a:lnTo>
                    <a:pt x="1313706" y="1981200"/>
                  </a:lnTo>
                  <a:lnTo>
                    <a:pt x="1313706" y="2102494"/>
                  </a:lnTo>
                  <a:lnTo>
                    <a:pt x="1266825" y="2114548"/>
                  </a:lnTo>
                  <a:lnTo>
                    <a:pt x="1266825" y="2034183"/>
                  </a:lnTo>
                  <a:cubicBezTo>
                    <a:pt x="1264246" y="2036465"/>
                    <a:pt x="1261195" y="2038623"/>
                    <a:pt x="1257672" y="2040657"/>
                  </a:cubicBezTo>
                  <a:cubicBezTo>
                    <a:pt x="1254150" y="2042691"/>
                    <a:pt x="1250405" y="2044526"/>
                    <a:pt x="1246436" y="2046164"/>
                  </a:cubicBezTo>
                  <a:cubicBezTo>
                    <a:pt x="1242467" y="2047801"/>
                    <a:pt x="1238350" y="2049190"/>
                    <a:pt x="1234083" y="2050331"/>
                  </a:cubicBezTo>
                  <a:cubicBezTo>
                    <a:pt x="1229817" y="2051472"/>
                    <a:pt x="1225600" y="2052290"/>
                    <a:pt x="1221433" y="2052786"/>
                  </a:cubicBezTo>
                  <a:lnTo>
                    <a:pt x="1221433" y="2013198"/>
                  </a:lnTo>
                  <a:cubicBezTo>
                    <a:pt x="1233637" y="2009626"/>
                    <a:pt x="1245146" y="2005062"/>
                    <a:pt x="1255961" y="1999506"/>
                  </a:cubicBezTo>
                  <a:cubicBezTo>
                    <a:pt x="1266776" y="1993950"/>
                    <a:pt x="1276549" y="1987848"/>
                    <a:pt x="1285280" y="1981200"/>
                  </a:cubicBezTo>
                  <a:close/>
                  <a:moveTo>
                    <a:pt x="942380" y="1981200"/>
                  </a:moveTo>
                  <a:lnTo>
                    <a:pt x="970806" y="1981200"/>
                  </a:lnTo>
                  <a:lnTo>
                    <a:pt x="970806" y="2136327"/>
                  </a:lnTo>
                  <a:lnTo>
                    <a:pt x="925237" y="2134026"/>
                  </a:lnTo>
                  <a:lnTo>
                    <a:pt x="923925" y="2133825"/>
                  </a:lnTo>
                  <a:lnTo>
                    <a:pt x="923925" y="2034183"/>
                  </a:lnTo>
                  <a:cubicBezTo>
                    <a:pt x="921346" y="2036465"/>
                    <a:pt x="918295" y="2038623"/>
                    <a:pt x="914772" y="2040657"/>
                  </a:cubicBezTo>
                  <a:cubicBezTo>
                    <a:pt x="911250" y="2042691"/>
                    <a:pt x="907505" y="2044526"/>
                    <a:pt x="903536" y="2046164"/>
                  </a:cubicBezTo>
                  <a:cubicBezTo>
                    <a:pt x="899567" y="2047801"/>
                    <a:pt x="895450" y="2049190"/>
                    <a:pt x="891183" y="2050331"/>
                  </a:cubicBezTo>
                  <a:cubicBezTo>
                    <a:pt x="886917" y="2051472"/>
                    <a:pt x="882700" y="2052290"/>
                    <a:pt x="878533" y="2052786"/>
                  </a:cubicBezTo>
                  <a:lnTo>
                    <a:pt x="878533" y="2013198"/>
                  </a:lnTo>
                  <a:cubicBezTo>
                    <a:pt x="890737" y="2009626"/>
                    <a:pt x="902246" y="2005062"/>
                    <a:pt x="913061" y="1999506"/>
                  </a:cubicBezTo>
                  <a:cubicBezTo>
                    <a:pt x="923876" y="1993950"/>
                    <a:pt x="933649" y="1987848"/>
                    <a:pt x="942380" y="1981200"/>
                  </a:cubicBezTo>
                  <a:close/>
                  <a:moveTo>
                    <a:pt x="599480" y="1981200"/>
                  </a:moveTo>
                  <a:lnTo>
                    <a:pt x="627906" y="1981200"/>
                  </a:lnTo>
                  <a:lnTo>
                    <a:pt x="627906" y="2059534"/>
                  </a:lnTo>
                  <a:lnTo>
                    <a:pt x="613628" y="2054308"/>
                  </a:lnTo>
                  <a:lnTo>
                    <a:pt x="581025" y="2038602"/>
                  </a:lnTo>
                  <a:lnTo>
                    <a:pt x="581025" y="2034183"/>
                  </a:lnTo>
                  <a:lnTo>
                    <a:pt x="577309" y="2036812"/>
                  </a:lnTo>
                  <a:lnTo>
                    <a:pt x="535633" y="2016736"/>
                  </a:lnTo>
                  <a:lnTo>
                    <a:pt x="535633" y="2013198"/>
                  </a:lnTo>
                  <a:cubicBezTo>
                    <a:pt x="547837" y="2009626"/>
                    <a:pt x="559346" y="2005062"/>
                    <a:pt x="570161" y="1999506"/>
                  </a:cubicBezTo>
                  <a:cubicBezTo>
                    <a:pt x="580976" y="1993950"/>
                    <a:pt x="590749" y="1987848"/>
                    <a:pt x="599480" y="1981200"/>
                  </a:cubicBezTo>
                  <a:close/>
                  <a:moveTo>
                    <a:pt x="1449884" y="1684883"/>
                  </a:moveTo>
                  <a:cubicBezTo>
                    <a:pt x="1429544" y="1684883"/>
                    <a:pt x="1419374" y="1710432"/>
                    <a:pt x="1419374" y="1761530"/>
                  </a:cubicBezTo>
                  <a:cubicBezTo>
                    <a:pt x="1419374" y="1809651"/>
                    <a:pt x="1429346" y="1833711"/>
                    <a:pt x="1449289" y="1833711"/>
                  </a:cubicBezTo>
                  <a:cubicBezTo>
                    <a:pt x="1468736" y="1833711"/>
                    <a:pt x="1478459" y="1808907"/>
                    <a:pt x="1478459" y="1759297"/>
                  </a:cubicBezTo>
                  <a:cubicBezTo>
                    <a:pt x="1478459" y="1709688"/>
                    <a:pt x="1468934" y="1684883"/>
                    <a:pt x="1449884" y="1684883"/>
                  </a:cubicBezTo>
                  <a:close/>
                  <a:moveTo>
                    <a:pt x="1106984" y="1684883"/>
                  </a:moveTo>
                  <a:cubicBezTo>
                    <a:pt x="1086644" y="1684883"/>
                    <a:pt x="1076474" y="1710432"/>
                    <a:pt x="1076474" y="1761530"/>
                  </a:cubicBezTo>
                  <a:cubicBezTo>
                    <a:pt x="1076474" y="1809651"/>
                    <a:pt x="1086446" y="1833711"/>
                    <a:pt x="1106389" y="1833711"/>
                  </a:cubicBezTo>
                  <a:cubicBezTo>
                    <a:pt x="1125836" y="1833711"/>
                    <a:pt x="1135559" y="1808907"/>
                    <a:pt x="1135559" y="1759297"/>
                  </a:cubicBezTo>
                  <a:cubicBezTo>
                    <a:pt x="1135559" y="1709688"/>
                    <a:pt x="1126034" y="1684883"/>
                    <a:pt x="1106984" y="1684883"/>
                  </a:cubicBezTo>
                  <a:close/>
                  <a:moveTo>
                    <a:pt x="764084" y="1684883"/>
                  </a:moveTo>
                  <a:cubicBezTo>
                    <a:pt x="743744" y="1684883"/>
                    <a:pt x="733574" y="1710432"/>
                    <a:pt x="733574" y="1761530"/>
                  </a:cubicBezTo>
                  <a:cubicBezTo>
                    <a:pt x="733574" y="1809651"/>
                    <a:pt x="743546" y="1833711"/>
                    <a:pt x="763489" y="1833711"/>
                  </a:cubicBezTo>
                  <a:cubicBezTo>
                    <a:pt x="782936" y="1833711"/>
                    <a:pt x="792659" y="1808907"/>
                    <a:pt x="792659" y="1759297"/>
                  </a:cubicBezTo>
                  <a:cubicBezTo>
                    <a:pt x="792659" y="1709688"/>
                    <a:pt x="783134" y="1684883"/>
                    <a:pt x="764084" y="1684883"/>
                  </a:cubicBezTo>
                  <a:close/>
                  <a:moveTo>
                    <a:pt x="421184" y="1684883"/>
                  </a:moveTo>
                  <a:cubicBezTo>
                    <a:pt x="400844" y="1684883"/>
                    <a:pt x="390674" y="1710432"/>
                    <a:pt x="390674" y="1761530"/>
                  </a:cubicBezTo>
                  <a:cubicBezTo>
                    <a:pt x="390674" y="1809651"/>
                    <a:pt x="400646" y="1833711"/>
                    <a:pt x="420589" y="1833711"/>
                  </a:cubicBezTo>
                  <a:cubicBezTo>
                    <a:pt x="440035" y="1833711"/>
                    <a:pt x="449759" y="1808907"/>
                    <a:pt x="449759" y="1759297"/>
                  </a:cubicBezTo>
                  <a:cubicBezTo>
                    <a:pt x="449759" y="1709688"/>
                    <a:pt x="440234" y="1684883"/>
                    <a:pt x="421184" y="1684883"/>
                  </a:cubicBezTo>
                  <a:close/>
                  <a:moveTo>
                    <a:pt x="1928851" y="1671251"/>
                  </a:moveTo>
                  <a:lnTo>
                    <a:pt x="1907233" y="1700161"/>
                  </a:lnTo>
                  <a:lnTo>
                    <a:pt x="1907233" y="1679823"/>
                  </a:lnTo>
                  <a:close/>
                  <a:moveTo>
                    <a:pt x="1794867" y="1649016"/>
                  </a:moveTo>
                  <a:cubicBezTo>
                    <a:pt x="1832075" y="1649016"/>
                    <a:pt x="1855329" y="1669415"/>
                    <a:pt x="1864631" y="1710212"/>
                  </a:cubicBezTo>
                  <a:lnTo>
                    <a:pt x="1868573" y="1750559"/>
                  </a:lnTo>
                  <a:lnTo>
                    <a:pt x="1815518" y="1808934"/>
                  </a:lnTo>
                  <a:lnTo>
                    <a:pt x="1819536" y="1791853"/>
                  </a:lnTo>
                  <a:cubicBezTo>
                    <a:pt x="1820751" y="1782552"/>
                    <a:pt x="1821359" y="1771700"/>
                    <a:pt x="1821359" y="1759297"/>
                  </a:cubicBezTo>
                  <a:cubicBezTo>
                    <a:pt x="1821359" y="1709688"/>
                    <a:pt x="1811834" y="1684883"/>
                    <a:pt x="1792784" y="1684883"/>
                  </a:cubicBezTo>
                  <a:cubicBezTo>
                    <a:pt x="1772444" y="1684883"/>
                    <a:pt x="1762274" y="1710432"/>
                    <a:pt x="1762274" y="1761530"/>
                  </a:cubicBezTo>
                  <a:cubicBezTo>
                    <a:pt x="1762274" y="1797621"/>
                    <a:pt x="1767883" y="1820177"/>
                    <a:pt x="1779101" y="1829200"/>
                  </a:cubicBezTo>
                  <a:lnTo>
                    <a:pt x="1791099" y="1833336"/>
                  </a:lnTo>
                  <a:lnTo>
                    <a:pt x="1758225" y="1863213"/>
                  </a:lnTo>
                  <a:lnTo>
                    <a:pt x="1757363" y="1863040"/>
                  </a:lnTo>
                  <a:cubicBezTo>
                    <a:pt x="1728788" y="1849664"/>
                    <a:pt x="1714500" y="1816224"/>
                    <a:pt x="1714500" y="1762720"/>
                  </a:cubicBezTo>
                  <a:cubicBezTo>
                    <a:pt x="1714500" y="1725712"/>
                    <a:pt x="1721371" y="1697509"/>
                    <a:pt x="1735113" y="1678112"/>
                  </a:cubicBezTo>
                  <a:cubicBezTo>
                    <a:pt x="1748855" y="1658714"/>
                    <a:pt x="1768773" y="1649016"/>
                    <a:pt x="1794867" y="1649016"/>
                  </a:cubicBezTo>
                  <a:close/>
                  <a:moveTo>
                    <a:pt x="1451967" y="1649016"/>
                  </a:moveTo>
                  <a:cubicBezTo>
                    <a:pt x="1501577" y="1649016"/>
                    <a:pt x="1526382" y="1685280"/>
                    <a:pt x="1526382" y="1757809"/>
                  </a:cubicBezTo>
                  <a:cubicBezTo>
                    <a:pt x="1526382" y="1793925"/>
                    <a:pt x="1519610" y="1821607"/>
                    <a:pt x="1506067" y="1840855"/>
                  </a:cubicBezTo>
                  <a:cubicBezTo>
                    <a:pt x="1492523" y="1860104"/>
                    <a:pt x="1473101" y="1869728"/>
                    <a:pt x="1447800" y="1869728"/>
                  </a:cubicBezTo>
                  <a:cubicBezTo>
                    <a:pt x="1397000" y="1869728"/>
                    <a:pt x="1371600" y="1834059"/>
                    <a:pt x="1371600" y="1762720"/>
                  </a:cubicBezTo>
                  <a:cubicBezTo>
                    <a:pt x="1371600" y="1725712"/>
                    <a:pt x="1378471" y="1697509"/>
                    <a:pt x="1392213" y="1678112"/>
                  </a:cubicBezTo>
                  <a:cubicBezTo>
                    <a:pt x="1405955" y="1658714"/>
                    <a:pt x="1425873" y="1649016"/>
                    <a:pt x="1451967" y="1649016"/>
                  </a:cubicBezTo>
                  <a:close/>
                  <a:moveTo>
                    <a:pt x="1109067" y="1649016"/>
                  </a:moveTo>
                  <a:cubicBezTo>
                    <a:pt x="1158677" y="1649016"/>
                    <a:pt x="1183482" y="1685280"/>
                    <a:pt x="1183482" y="1757809"/>
                  </a:cubicBezTo>
                  <a:cubicBezTo>
                    <a:pt x="1183482" y="1793925"/>
                    <a:pt x="1176710" y="1821607"/>
                    <a:pt x="1163167" y="1840855"/>
                  </a:cubicBezTo>
                  <a:cubicBezTo>
                    <a:pt x="1149623" y="1860104"/>
                    <a:pt x="1130201" y="1869728"/>
                    <a:pt x="1104900" y="1869728"/>
                  </a:cubicBezTo>
                  <a:cubicBezTo>
                    <a:pt x="1054100" y="1869728"/>
                    <a:pt x="1028700" y="1834059"/>
                    <a:pt x="1028700" y="1762720"/>
                  </a:cubicBezTo>
                  <a:cubicBezTo>
                    <a:pt x="1028700" y="1725712"/>
                    <a:pt x="1035571" y="1697509"/>
                    <a:pt x="1049313" y="1678112"/>
                  </a:cubicBezTo>
                  <a:cubicBezTo>
                    <a:pt x="1063055" y="1658714"/>
                    <a:pt x="1082973" y="1649016"/>
                    <a:pt x="1109067" y="1649016"/>
                  </a:cubicBezTo>
                  <a:close/>
                  <a:moveTo>
                    <a:pt x="766167" y="1649016"/>
                  </a:moveTo>
                  <a:cubicBezTo>
                    <a:pt x="815777" y="1649016"/>
                    <a:pt x="840582" y="1685280"/>
                    <a:pt x="840582" y="1757809"/>
                  </a:cubicBezTo>
                  <a:cubicBezTo>
                    <a:pt x="840582" y="1793925"/>
                    <a:pt x="833810" y="1821607"/>
                    <a:pt x="820267" y="1840855"/>
                  </a:cubicBezTo>
                  <a:cubicBezTo>
                    <a:pt x="806723" y="1860104"/>
                    <a:pt x="787301" y="1869728"/>
                    <a:pt x="762000" y="1869728"/>
                  </a:cubicBezTo>
                  <a:cubicBezTo>
                    <a:pt x="711200" y="1869728"/>
                    <a:pt x="685800" y="1834059"/>
                    <a:pt x="685800" y="1762720"/>
                  </a:cubicBezTo>
                  <a:cubicBezTo>
                    <a:pt x="685800" y="1725712"/>
                    <a:pt x="692671" y="1697509"/>
                    <a:pt x="706413" y="1678112"/>
                  </a:cubicBezTo>
                  <a:cubicBezTo>
                    <a:pt x="720155" y="1658714"/>
                    <a:pt x="740073" y="1649016"/>
                    <a:pt x="766167" y="1649016"/>
                  </a:cubicBezTo>
                  <a:close/>
                  <a:moveTo>
                    <a:pt x="423268" y="1649016"/>
                  </a:moveTo>
                  <a:cubicBezTo>
                    <a:pt x="472877" y="1649016"/>
                    <a:pt x="497682" y="1685280"/>
                    <a:pt x="497682" y="1757809"/>
                  </a:cubicBezTo>
                  <a:cubicBezTo>
                    <a:pt x="497682" y="1793925"/>
                    <a:pt x="490910" y="1821607"/>
                    <a:pt x="477367" y="1840855"/>
                  </a:cubicBezTo>
                  <a:cubicBezTo>
                    <a:pt x="463823" y="1860104"/>
                    <a:pt x="444401" y="1869728"/>
                    <a:pt x="419100" y="1869728"/>
                  </a:cubicBezTo>
                  <a:cubicBezTo>
                    <a:pt x="368300" y="1869728"/>
                    <a:pt x="342900" y="1834059"/>
                    <a:pt x="342900" y="1762720"/>
                  </a:cubicBezTo>
                  <a:cubicBezTo>
                    <a:pt x="342900" y="1725712"/>
                    <a:pt x="349771" y="1697509"/>
                    <a:pt x="363513" y="1678112"/>
                  </a:cubicBezTo>
                  <a:cubicBezTo>
                    <a:pt x="377255" y="1658714"/>
                    <a:pt x="397173" y="1649016"/>
                    <a:pt x="423268" y="1649016"/>
                  </a:cubicBezTo>
                  <a:close/>
                  <a:moveTo>
                    <a:pt x="1628180" y="1647825"/>
                  </a:moveTo>
                  <a:lnTo>
                    <a:pt x="1656606" y="1647825"/>
                  </a:lnTo>
                  <a:lnTo>
                    <a:pt x="1656606" y="1866007"/>
                  </a:lnTo>
                  <a:lnTo>
                    <a:pt x="1609725" y="1866007"/>
                  </a:lnTo>
                  <a:lnTo>
                    <a:pt x="1609725" y="1700808"/>
                  </a:lnTo>
                  <a:cubicBezTo>
                    <a:pt x="1607146" y="1703090"/>
                    <a:pt x="1604095" y="1705248"/>
                    <a:pt x="1600572" y="1707282"/>
                  </a:cubicBezTo>
                  <a:cubicBezTo>
                    <a:pt x="1597050" y="1709316"/>
                    <a:pt x="1593305" y="1711152"/>
                    <a:pt x="1589336" y="1712789"/>
                  </a:cubicBezTo>
                  <a:cubicBezTo>
                    <a:pt x="1585367" y="1714426"/>
                    <a:pt x="1581250" y="1715815"/>
                    <a:pt x="1576983" y="1716956"/>
                  </a:cubicBezTo>
                  <a:cubicBezTo>
                    <a:pt x="1572717" y="1718097"/>
                    <a:pt x="1568500" y="1718915"/>
                    <a:pt x="1564333" y="1719411"/>
                  </a:cubicBezTo>
                  <a:lnTo>
                    <a:pt x="1564333" y="1679823"/>
                  </a:lnTo>
                  <a:cubicBezTo>
                    <a:pt x="1576537" y="1676251"/>
                    <a:pt x="1588046" y="1671687"/>
                    <a:pt x="1598861" y="1666131"/>
                  </a:cubicBezTo>
                  <a:cubicBezTo>
                    <a:pt x="1609676" y="1660575"/>
                    <a:pt x="1619449" y="1654473"/>
                    <a:pt x="1628180" y="1647825"/>
                  </a:cubicBezTo>
                  <a:close/>
                  <a:moveTo>
                    <a:pt x="1285280" y="1647825"/>
                  </a:moveTo>
                  <a:lnTo>
                    <a:pt x="1313706" y="1647825"/>
                  </a:lnTo>
                  <a:lnTo>
                    <a:pt x="1313706" y="1866007"/>
                  </a:lnTo>
                  <a:lnTo>
                    <a:pt x="1266825" y="1866007"/>
                  </a:lnTo>
                  <a:lnTo>
                    <a:pt x="1266825" y="1700808"/>
                  </a:lnTo>
                  <a:cubicBezTo>
                    <a:pt x="1264246" y="1703090"/>
                    <a:pt x="1261195" y="1705248"/>
                    <a:pt x="1257672" y="1707282"/>
                  </a:cubicBezTo>
                  <a:cubicBezTo>
                    <a:pt x="1254150" y="1709316"/>
                    <a:pt x="1250405" y="1711152"/>
                    <a:pt x="1246436" y="1712789"/>
                  </a:cubicBezTo>
                  <a:cubicBezTo>
                    <a:pt x="1242467" y="1714426"/>
                    <a:pt x="1238350" y="1715815"/>
                    <a:pt x="1234083" y="1716956"/>
                  </a:cubicBezTo>
                  <a:cubicBezTo>
                    <a:pt x="1229817" y="1718097"/>
                    <a:pt x="1225600" y="1718915"/>
                    <a:pt x="1221433" y="1719411"/>
                  </a:cubicBezTo>
                  <a:lnTo>
                    <a:pt x="1221433" y="1679823"/>
                  </a:lnTo>
                  <a:cubicBezTo>
                    <a:pt x="1233637" y="1676251"/>
                    <a:pt x="1245146" y="1671687"/>
                    <a:pt x="1255961" y="1666131"/>
                  </a:cubicBezTo>
                  <a:cubicBezTo>
                    <a:pt x="1266776" y="1660575"/>
                    <a:pt x="1276549" y="1654473"/>
                    <a:pt x="1285280" y="1647825"/>
                  </a:cubicBezTo>
                  <a:close/>
                  <a:moveTo>
                    <a:pt x="942380" y="1647825"/>
                  </a:moveTo>
                  <a:lnTo>
                    <a:pt x="970806" y="1647825"/>
                  </a:lnTo>
                  <a:lnTo>
                    <a:pt x="970806" y="1866007"/>
                  </a:lnTo>
                  <a:lnTo>
                    <a:pt x="923925" y="1866007"/>
                  </a:lnTo>
                  <a:lnTo>
                    <a:pt x="923925" y="1700808"/>
                  </a:lnTo>
                  <a:cubicBezTo>
                    <a:pt x="921346" y="1703090"/>
                    <a:pt x="918295" y="1705248"/>
                    <a:pt x="914772" y="1707282"/>
                  </a:cubicBezTo>
                  <a:cubicBezTo>
                    <a:pt x="911250" y="1709316"/>
                    <a:pt x="907505" y="1711152"/>
                    <a:pt x="903536" y="1712789"/>
                  </a:cubicBezTo>
                  <a:cubicBezTo>
                    <a:pt x="899567" y="1714426"/>
                    <a:pt x="895450" y="1715815"/>
                    <a:pt x="891183" y="1716956"/>
                  </a:cubicBezTo>
                  <a:cubicBezTo>
                    <a:pt x="886917" y="1718097"/>
                    <a:pt x="882700" y="1718915"/>
                    <a:pt x="878533" y="1719411"/>
                  </a:cubicBezTo>
                  <a:lnTo>
                    <a:pt x="878533" y="1679823"/>
                  </a:lnTo>
                  <a:cubicBezTo>
                    <a:pt x="890737" y="1676251"/>
                    <a:pt x="902246" y="1671687"/>
                    <a:pt x="913061" y="1666131"/>
                  </a:cubicBezTo>
                  <a:cubicBezTo>
                    <a:pt x="923876" y="1660575"/>
                    <a:pt x="933649" y="1654473"/>
                    <a:pt x="942380" y="1647825"/>
                  </a:cubicBezTo>
                  <a:close/>
                  <a:moveTo>
                    <a:pt x="599480" y="1647825"/>
                  </a:moveTo>
                  <a:lnTo>
                    <a:pt x="627906" y="1647825"/>
                  </a:lnTo>
                  <a:lnTo>
                    <a:pt x="627906" y="1866007"/>
                  </a:lnTo>
                  <a:lnTo>
                    <a:pt x="581025" y="1866007"/>
                  </a:lnTo>
                  <a:lnTo>
                    <a:pt x="581025" y="1700808"/>
                  </a:lnTo>
                  <a:cubicBezTo>
                    <a:pt x="578446" y="1703090"/>
                    <a:pt x="575395" y="1705248"/>
                    <a:pt x="571872" y="1707282"/>
                  </a:cubicBezTo>
                  <a:cubicBezTo>
                    <a:pt x="568350" y="1709316"/>
                    <a:pt x="564605" y="1711152"/>
                    <a:pt x="560636" y="1712789"/>
                  </a:cubicBezTo>
                  <a:cubicBezTo>
                    <a:pt x="556667" y="1714426"/>
                    <a:pt x="552549" y="1715815"/>
                    <a:pt x="548283" y="1716956"/>
                  </a:cubicBezTo>
                  <a:cubicBezTo>
                    <a:pt x="544017" y="1718097"/>
                    <a:pt x="539800" y="1718915"/>
                    <a:pt x="535633" y="1719411"/>
                  </a:cubicBezTo>
                  <a:lnTo>
                    <a:pt x="535633" y="1679823"/>
                  </a:lnTo>
                  <a:cubicBezTo>
                    <a:pt x="547837" y="1676251"/>
                    <a:pt x="559346" y="1671687"/>
                    <a:pt x="570161" y="1666131"/>
                  </a:cubicBezTo>
                  <a:cubicBezTo>
                    <a:pt x="580976" y="1660575"/>
                    <a:pt x="590749" y="1654473"/>
                    <a:pt x="599480" y="1647825"/>
                  </a:cubicBezTo>
                  <a:close/>
                  <a:moveTo>
                    <a:pt x="256580" y="1647825"/>
                  </a:moveTo>
                  <a:lnTo>
                    <a:pt x="285006" y="1647825"/>
                  </a:lnTo>
                  <a:lnTo>
                    <a:pt x="285006" y="1836615"/>
                  </a:lnTo>
                  <a:lnTo>
                    <a:pt x="268512" y="1821624"/>
                  </a:lnTo>
                  <a:lnTo>
                    <a:pt x="238125" y="1788191"/>
                  </a:lnTo>
                  <a:lnTo>
                    <a:pt x="238125" y="1700808"/>
                  </a:lnTo>
                  <a:cubicBezTo>
                    <a:pt x="235546" y="1703090"/>
                    <a:pt x="232495" y="1705248"/>
                    <a:pt x="228972" y="1707282"/>
                  </a:cubicBezTo>
                  <a:cubicBezTo>
                    <a:pt x="225450" y="1709316"/>
                    <a:pt x="221705" y="1711152"/>
                    <a:pt x="217736" y="1712789"/>
                  </a:cubicBezTo>
                  <a:cubicBezTo>
                    <a:pt x="213767" y="1714426"/>
                    <a:pt x="209650" y="1715815"/>
                    <a:pt x="205383" y="1716956"/>
                  </a:cubicBezTo>
                  <a:cubicBezTo>
                    <a:pt x="201117" y="1718097"/>
                    <a:pt x="196900" y="1718915"/>
                    <a:pt x="192733" y="1719411"/>
                  </a:cubicBezTo>
                  <a:lnTo>
                    <a:pt x="192733" y="1679823"/>
                  </a:lnTo>
                  <a:cubicBezTo>
                    <a:pt x="204937" y="1676251"/>
                    <a:pt x="216446" y="1671687"/>
                    <a:pt x="227261" y="1666131"/>
                  </a:cubicBezTo>
                  <a:cubicBezTo>
                    <a:pt x="238076" y="1660575"/>
                    <a:pt x="247849" y="1654473"/>
                    <a:pt x="256580" y="1647825"/>
                  </a:cubicBezTo>
                  <a:close/>
                  <a:moveTo>
                    <a:pt x="1792784" y="1361033"/>
                  </a:moveTo>
                  <a:cubicBezTo>
                    <a:pt x="1772444" y="1361033"/>
                    <a:pt x="1762274" y="1386582"/>
                    <a:pt x="1762274" y="1437680"/>
                  </a:cubicBezTo>
                  <a:cubicBezTo>
                    <a:pt x="1762274" y="1485801"/>
                    <a:pt x="1772246" y="1509861"/>
                    <a:pt x="1792189" y="1509861"/>
                  </a:cubicBezTo>
                  <a:cubicBezTo>
                    <a:pt x="1811635" y="1509861"/>
                    <a:pt x="1821359" y="1485057"/>
                    <a:pt x="1821359" y="1435447"/>
                  </a:cubicBezTo>
                  <a:cubicBezTo>
                    <a:pt x="1821359" y="1385838"/>
                    <a:pt x="1811834" y="1361033"/>
                    <a:pt x="1792784" y="1361033"/>
                  </a:cubicBezTo>
                  <a:close/>
                  <a:moveTo>
                    <a:pt x="1449884" y="1361033"/>
                  </a:moveTo>
                  <a:cubicBezTo>
                    <a:pt x="1429544" y="1361033"/>
                    <a:pt x="1419374" y="1386582"/>
                    <a:pt x="1419374" y="1437680"/>
                  </a:cubicBezTo>
                  <a:cubicBezTo>
                    <a:pt x="1419374" y="1485801"/>
                    <a:pt x="1429346" y="1509861"/>
                    <a:pt x="1449289" y="1509861"/>
                  </a:cubicBezTo>
                  <a:cubicBezTo>
                    <a:pt x="1468736" y="1509861"/>
                    <a:pt x="1478459" y="1485057"/>
                    <a:pt x="1478459" y="1435447"/>
                  </a:cubicBezTo>
                  <a:cubicBezTo>
                    <a:pt x="1478459" y="1385838"/>
                    <a:pt x="1468934" y="1361033"/>
                    <a:pt x="1449884" y="1361033"/>
                  </a:cubicBezTo>
                  <a:close/>
                  <a:moveTo>
                    <a:pt x="1106984" y="1361033"/>
                  </a:moveTo>
                  <a:cubicBezTo>
                    <a:pt x="1086644" y="1361033"/>
                    <a:pt x="1076474" y="1386582"/>
                    <a:pt x="1076474" y="1437680"/>
                  </a:cubicBezTo>
                  <a:cubicBezTo>
                    <a:pt x="1076474" y="1485801"/>
                    <a:pt x="1086446" y="1509861"/>
                    <a:pt x="1106389" y="1509861"/>
                  </a:cubicBezTo>
                  <a:cubicBezTo>
                    <a:pt x="1125836" y="1509861"/>
                    <a:pt x="1135559" y="1485057"/>
                    <a:pt x="1135559" y="1435447"/>
                  </a:cubicBezTo>
                  <a:cubicBezTo>
                    <a:pt x="1135559" y="1385838"/>
                    <a:pt x="1126034" y="1361033"/>
                    <a:pt x="1106984" y="1361033"/>
                  </a:cubicBezTo>
                  <a:close/>
                  <a:moveTo>
                    <a:pt x="764084" y="1361033"/>
                  </a:moveTo>
                  <a:cubicBezTo>
                    <a:pt x="743744" y="1361033"/>
                    <a:pt x="733574" y="1386582"/>
                    <a:pt x="733574" y="1437680"/>
                  </a:cubicBezTo>
                  <a:cubicBezTo>
                    <a:pt x="733574" y="1485801"/>
                    <a:pt x="743546" y="1509861"/>
                    <a:pt x="763489" y="1509861"/>
                  </a:cubicBezTo>
                  <a:cubicBezTo>
                    <a:pt x="782936" y="1509861"/>
                    <a:pt x="792659" y="1485057"/>
                    <a:pt x="792659" y="1435447"/>
                  </a:cubicBezTo>
                  <a:cubicBezTo>
                    <a:pt x="792659" y="1385838"/>
                    <a:pt x="783134" y="1361033"/>
                    <a:pt x="764084" y="1361033"/>
                  </a:cubicBezTo>
                  <a:close/>
                  <a:moveTo>
                    <a:pt x="421184" y="1361033"/>
                  </a:moveTo>
                  <a:cubicBezTo>
                    <a:pt x="400844" y="1361033"/>
                    <a:pt x="390674" y="1386582"/>
                    <a:pt x="390674" y="1437680"/>
                  </a:cubicBezTo>
                  <a:cubicBezTo>
                    <a:pt x="390674" y="1485801"/>
                    <a:pt x="400646" y="1509861"/>
                    <a:pt x="420589" y="1509861"/>
                  </a:cubicBezTo>
                  <a:cubicBezTo>
                    <a:pt x="440035" y="1509861"/>
                    <a:pt x="449759" y="1485057"/>
                    <a:pt x="449759" y="1435447"/>
                  </a:cubicBezTo>
                  <a:cubicBezTo>
                    <a:pt x="449759" y="1385838"/>
                    <a:pt x="440234" y="1361033"/>
                    <a:pt x="421184" y="1361033"/>
                  </a:cubicBezTo>
                  <a:close/>
                  <a:moveTo>
                    <a:pt x="78284" y="1361033"/>
                  </a:moveTo>
                  <a:cubicBezTo>
                    <a:pt x="57944" y="1361033"/>
                    <a:pt x="47774" y="1386582"/>
                    <a:pt x="47774" y="1437680"/>
                  </a:cubicBezTo>
                  <a:cubicBezTo>
                    <a:pt x="47774" y="1485801"/>
                    <a:pt x="57746" y="1509861"/>
                    <a:pt x="77689" y="1509861"/>
                  </a:cubicBezTo>
                  <a:cubicBezTo>
                    <a:pt x="97135" y="1509861"/>
                    <a:pt x="106859" y="1485057"/>
                    <a:pt x="106859" y="1435447"/>
                  </a:cubicBezTo>
                  <a:cubicBezTo>
                    <a:pt x="106859" y="1385838"/>
                    <a:pt x="97334" y="1361033"/>
                    <a:pt x="78284" y="1361033"/>
                  </a:cubicBezTo>
                  <a:close/>
                  <a:moveTo>
                    <a:pt x="2079233" y="1353207"/>
                  </a:moveTo>
                  <a:lnTo>
                    <a:pt x="2073178" y="1376755"/>
                  </a:lnTo>
                  <a:lnTo>
                    <a:pt x="2060212" y="1412180"/>
                  </a:lnTo>
                  <a:lnTo>
                    <a:pt x="2062553" y="1389962"/>
                  </a:lnTo>
                  <a:cubicBezTo>
                    <a:pt x="2065989" y="1375860"/>
                    <a:pt x="2071142" y="1363960"/>
                    <a:pt x="2078013" y="1354262"/>
                  </a:cubicBezTo>
                  <a:close/>
                  <a:moveTo>
                    <a:pt x="1794867" y="1325166"/>
                  </a:moveTo>
                  <a:cubicBezTo>
                    <a:pt x="1844477" y="1325166"/>
                    <a:pt x="1869281" y="1361430"/>
                    <a:pt x="1869281" y="1433959"/>
                  </a:cubicBezTo>
                  <a:cubicBezTo>
                    <a:pt x="1869281" y="1470075"/>
                    <a:pt x="1862510" y="1497757"/>
                    <a:pt x="1848966" y="1517005"/>
                  </a:cubicBezTo>
                  <a:cubicBezTo>
                    <a:pt x="1835423" y="1536254"/>
                    <a:pt x="1816001" y="1545878"/>
                    <a:pt x="1790700" y="1545878"/>
                  </a:cubicBezTo>
                  <a:cubicBezTo>
                    <a:pt x="1739900" y="1545878"/>
                    <a:pt x="1714500" y="1510209"/>
                    <a:pt x="1714500" y="1438870"/>
                  </a:cubicBezTo>
                  <a:cubicBezTo>
                    <a:pt x="1714500" y="1401862"/>
                    <a:pt x="1721371" y="1373659"/>
                    <a:pt x="1735113" y="1354262"/>
                  </a:cubicBezTo>
                  <a:cubicBezTo>
                    <a:pt x="1748855" y="1334864"/>
                    <a:pt x="1768773" y="1325166"/>
                    <a:pt x="1794867" y="1325166"/>
                  </a:cubicBezTo>
                  <a:close/>
                  <a:moveTo>
                    <a:pt x="1451967" y="1325166"/>
                  </a:moveTo>
                  <a:cubicBezTo>
                    <a:pt x="1501577" y="1325166"/>
                    <a:pt x="1526382" y="1361430"/>
                    <a:pt x="1526382" y="1433959"/>
                  </a:cubicBezTo>
                  <a:cubicBezTo>
                    <a:pt x="1526382" y="1470075"/>
                    <a:pt x="1519610" y="1497757"/>
                    <a:pt x="1506067" y="1517005"/>
                  </a:cubicBezTo>
                  <a:cubicBezTo>
                    <a:pt x="1492523" y="1536254"/>
                    <a:pt x="1473101" y="1545878"/>
                    <a:pt x="1447800" y="1545878"/>
                  </a:cubicBezTo>
                  <a:cubicBezTo>
                    <a:pt x="1397000" y="1545878"/>
                    <a:pt x="1371600" y="1510209"/>
                    <a:pt x="1371600" y="1438870"/>
                  </a:cubicBezTo>
                  <a:cubicBezTo>
                    <a:pt x="1371600" y="1401862"/>
                    <a:pt x="1378471" y="1373659"/>
                    <a:pt x="1392213" y="1354262"/>
                  </a:cubicBezTo>
                  <a:cubicBezTo>
                    <a:pt x="1405955" y="1334864"/>
                    <a:pt x="1425873" y="1325166"/>
                    <a:pt x="1451967" y="1325166"/>
                  </a:cubicBezTo>
                  <a:close/>
                  <a:moveTo>
                    <a:pt x="1109067" y="1325166"/>
                  </a:moveTo>
                  <a:cubicBezTo>
                    <a:pt x="1158677" y="1325166"/>
                    <a:pt x="1183482" y="1361430"/>
                    <a:pt x="1183482" y="1433959"/>
                  </a:cubicBezTo>
                  <a:cubicBezTo>
                    <a:pt x="1183482" y="1470075"/>
                    <a:pt x="1176710" y="1497757"/>
                    <a:pt x="1163167" y="1517005"/>
                  </a:cubicBezTo>
                  <a:cubicBezTo>
                    <a:pt x="1149623" y="1536254"/>
                    <a:pt x="1130201" y="1545878"/>
                    <a:pt x="1104900" y="1545878"/>
                  </a:cubicBezTo>
                  <a:cubicBezTo>
                    <a:pt x="1054100" y="1545878"/>
                    <a:pt x="1028700" y="1510209"/>
                    <a:pt x="1028700" y="1438870"/>
                  </a:cubicBezTo>
                  <a:cubicBezTo>
                    <a:pt x="1028700" y="1401862"/>
                    <a:pt x="1035571" y="1373659"/>
                    <a:pt x="1049313" y="1354262"/>
                  </a:cubicBezTo>
                  <a:cubicBezTo>
                    <a:pt x="1063055" y="1334864"/>
                    <a:pt x="1082973" y="1325166"/>
                    <a:pt x="1109067" y="1325166"/>
                  </a:cubicBezTo>
                  <a:close/>
                  <a:moveTo>
                    <a:pt x="766167" y="1325166"/>
                  </a:moveTo>
                  <a:cubicBezTo>
                    <a:pt x="815777" y="1325166"/>
                    <a:pt x="840582" y="1361430"/>
                    <a:pt x="840582" y="1433959"/>
                  </a:cubicBezTo>
                  <a:cubicBezTo>
                    <a:pt x="840582" y="1470075"/>
                    <a:pt x="833810" y="1497757"/>
                    <a:pt x="820267" y="1517005"/>
                  </a:cubicBezTo>
                  <a:cubicBezTo>
                    <a:pt x="806723" y="1536254"/>
                    <a:pt x="787301" y="1545878"/>
                    <a:pt x="762000" y="1545878"/>
                  </a:cubicBezTo>
                  <a:cubicBezTo>
                    <a:pt x="711200" y="1545878"/>
                    <a:pt x="685800" y="1510209"/>
                    <a:pt x="685800" y="1438870"/>
                  </a:cubicBezTo>
                  <a:cubicBezTo>
                    <a:pt x="685800" y="1401862"/>
                    <a:pt x="692671" y="1373659"/>
                    <a:pt x="706413" y="1354262"/>
                  </a:cubicBezTo>
                  <a:cubicBezTo>
                    <a:pt x="720155" y="1334864"/>
                    <a:pt x="740073" y="1325166"/>
                    <a:pt x="766167" y="1325166"/>
                  </a:cubicBezTo>
                  <a:close/>
                  <a:moveTo>
                    <a:pt x="423268" y="1325166"/>
                  </a:moveTo>
                  <a:cubicBezTo>
                    <a:pt x="472877" y="1325166"/>
                    <a:pt x="497682" y="1361430"/>
                    <a:pt x="497682" y="1433959"/>
                  </a:cubicBezTo>
                  <a:cubicBezTo>
                    <a:pt x="497682" y="1470075"/>
                    <a:pt x="490910" y="1497757"/>
                    <a:pt x="477367" y="1517005"/>
                  </a:cubicBezTo>
                  <a:cubicBezTo>
                    <a:pt x="463823" y="1536254"/>
                    <a:pt x="444401" y="1545878"/>
                    <a:pt x="419100" y="1545878"/>
                  </a:cubicBezTo>
                  <a:cubicBezTo>
                    <a:pt x="368300" y="1545878"/>
                    <a:pt x="342900" y="1510209"/>
                    <a:pt x="342900" y="1438870"/>
                  </a:cubicBezTo>
                  <a:cubicBezTo>
                    <a:pt x="342900" y="1401862"/>
                    <a:pt x="349771" y="1373659"/>
                    <a:pt x="363513" y="1354262"/>
                  </a:cubicBezTo>
                  <a:cubicBezTo>
                    <a:pt x="377255" y="1334864"/>
                    <a:pt x="397173" y="1325166"/>
                    <a:pt x="423268" y="1325166"/>
                  </a:cubicBezTo>
                  <a:close/>
                  <a:moveTo>
                    <a:pt x="80368" y="1325166"/>
                  </a:moveTo>
                  <a:cubicBezTo>
                    <a:pt x="129977" y="1325166"/>
                    <a:pt x="154782" y="1361430"/>
                    <a:pt x="154782" y="1433959"/>
                  </a:cubicBezTo>
                  <a:cubicBezTo>
                    <a:pt x="154782" y="1470075"/>
                    <a:pt x="148010" y="1497757"/>
                    <a:pt x="134467" y="1517005"/>
                  </a:cubicBezTo>
                  <a:cubicBezTo>
                    <a:pt x="120923" y="1536254"/>
                    <a:pt x="101501" y="1545878"/>
                    <a:pt x="76200" y="1545878"/>
                  </a:cubicBezTo>
                  <a:lnTo>
                    <a:pt x="68502" y="1544334"/>
                  </a:lnTo>
                  <a:lnTo>
                    <a:pt x="35828" y="1476508"/>
                  </a:lnTo>
                  <a:lnTo>
                    <a:pt x="4930" y="1392087"/>
                  </a:lnTo>
                  <a:lnTo>
                    <a:pt x="5153" y="1389962"/>
                  </a:lnTo>
                  <a:cubicBezTo>
                    <a:pt x="8589" y="1375860"/>
                    <a:pt x="13742" y="1363960"/>
                    <a:pt x="20613" y="1354262"/>
                  </a:cubicBezTo>
                  <a:cubicBezTo>
                    <a:pt x="34355" y="1334864"/>
                    <a:pt x="54273" y="1325166"/>
                    <a:pt x="80368" y="1325166"/>
                  </a:cubicBezTo>
                  <a:close/>
                  <a:moveTo>
                    <a:pt x="1971080" y="1323975"/>
                  </a:moveTo>
                  <a:lnTo>
                    <a:pt x="1999506" y="1323975"/>
                  </a:lnTo>
                  <a:lnTo>
                    <a:pt x="1999506" y="1542157"/>
                  </a:lnTo>
                  <a:lnTo>
                    <a:pt x="1952625" y="1542157"/>
                  </a:lnTo>
                  <a:lnTo>
                    <a:pt x="1952625" y="1376958"/>
                  </a:lnTo>
                  <a:cubicBezTo>
                    <a:pt x="1950046" y="1379240"/>
                    <a:pt x="1946995" y="1381398"/>
                    <a:pt x="1943472" y="1383432"/>
                  </a:cubicBezTo>
                  <a:cubicBezTo>
                    <a:pt x="1939950" y="1385466"/>
                    <a:pt x="1936205" y="1387302"/>
                    <a:pt x="1932236" y="1388939"/>
                  </a:cubicBezTo>
                  <a:cubicBezTo>
                    <a:pt x="1928267" y="1390576"/>
                    <a:pt x="1924150" y="1391965"/>
                    <a:pt x="1919883" y="1393106"/>
                  </a:cubicBezTo>
                  <a:cubicBezTo>
                    <a:pt x="1915617" y="1394247"/>
                    <a:pt x="1911400" y="1395065"/>
                    <a:pt x="1907233" y="1395561"/>
                  </a:cubicBezTo>
                  <a:lnTo>
                    <a:pt x="1907233" y="1355973"/>
                  </a:lnTo>
                  <a:cubicBezTo>
                    <a:pt x="1919437" y="1352401"/>
                    <a:pt x="1930946" y="1347837"/>
                    <a:pt x="1941761" y="1342281"/>
                  </a:cubicBezTo>
                  <a:cubicBezTo>
                    <a:pt x="1952576" y="1336725"/>
                    <a:pt x="1962349" y="1330623"/>
                    <a:pt x="1971080" y="1323975"/>
                  </a:cubicBezTo>
                  <a:close/>
                  <a:moveTo>
                    <a:pt x="1628180" y="1323975"/>
                  </a:moveTo>
                  <a:lnTo>
                    <a:pt x="1656606" y="1323975"/>
                  </a:lnTo>
                  <a:lnTo>
                    <a:pt x="1656606" y="1542157"/>
                  </a:lnTo>
                  <a:lnTo>
                    <a:pt x="1609725" y="1542157"/>
                  </a:lnTo>
                  <a:lnTo>
                    <a:pt x="1609725" y="1376958"/>
                  </a:lnTo>
                  <a:cubicBezTo>
                    <a:pt x="1607146" y="1379240"/>
                    <a:pt x="1604095" y="1381398"/>
                    <a:pt x="1600572" y="1383432"/>
                  </a:cubicBezTo>
                  <a:cubicBezTo>
                    <a:pt x="1597050" y="1385466"/>
                    <a:pt x="1593305" y="1387302"/>
                    <a:pt x="1589336" y="1388939"/>
                  </a:cubicBezTo>
                  <a:cubicBezTo>
                    <a:pt x="1585367" y="1390576"/>
                    <a:pt x="1581250" y="1391965"/>
                    <a:pt x="1576983" y="1393106"/>
                  </a:cubicBezTo>
                  <a:cubicBezTo>
                    <a:pt x="1572717" y="1394247"/>
                    <a:pt x="1568500" y="1395065"/>
                    <a:pt x="1564333" y="1395561"/>
                  </a:cubicBezTo>
                  <a:lnTo>
                    <a:pt x="1564333" y="1355973"/>
                  </a:lnTo>
                  <a:cubicBezTo>
                    <a:pt x="1576537" y="1352401"/>
                    <a:pt x="1588046" y="1347837"/>
                    <a:pt x="1598861" y="1342281"/>
                  </a:cubicBezTo>
                  <a:cubicBezTo>
                    <a:pt x="1609676" y="1336725"/>
                    <a:pt x="1619449" y="1330623"/>
                    <a:pt x="1628180" y="1323975"/>
                  </a:cubicBezTo>
                  <a:close/>
                  <a:moveTo>
                    <a:pt x="1285280" y="1323975"/>
                  </a:moveTo>
                  <a:lnTo>
                    <a:pt x="1313706" y="1323975"/>
                  </a:lnTo>
                  <a:lnTo>
                    <a:pt x="1313706" y="1542157"/>
                  </a:lnTo>
                  <a:lnTo>
                    <a:pt x="1266825" y="1542157"/>
                  </a:lnTo>
                  <a:lnTo>
                    <a:pt x="1266825" y="1376958"/>
                  </a:lnTo>
                  <a:cubicBezTo>
                    <a:pt x="1264246" y="1379240"/>
                    <a:pt x="1261195" y="1381398"/>
                    <a:pt x="1257672" y="1383432"/>
                  </a:cubicBezTo>
                  <a:cubicBezTo>
                    <a:pt x="1254150" y="1385466"/>
                    <a:pt x="1250405" y="1387302"/>
                    <a:pt x="1246436" y="1388939"/>
                  </a:cubicBezTo>
                  <a:cubicBezTo>
                    <a:pt x="1242467" y="1390576"/>
                    <a:pt x="1238350" y="1391965"/>
                    <a:pt x="1234083" y="1393106"/>
                  </a:cubicBezTo>
                  <a:cubicBezTo>
                    <a:pt x="1229817" y="1394247"/>
                    <a:pt x="1225600" y="1395065"/>
                    <a:pt x="1221433" y="1395561"/>
                  </a:cubicBezTo>
                  <a:lnTo>
                    <a:pt x="1221433" y="1355973"/>
                  </a:lnTo>
                  <a:cubicBezTo>
                    <a:pt x="1233637" y="1352401"/>
                    <a:pt x="1245146" y="1347837"/>
                    <a:pt x="1255961" y="1342281"/>
                  </a:cubicBezTo>
                  <a:cubicBezTo>
                    <a:pt x="1266776" y="1336725"/>
                    <a:pt x="1276549" y="1330623"/>
                    <a:pt x="1285280" y="1323975"/>
                  </a:cubicBezTo>
                  <a:close/>
                  <a:moveTo>
                    <a:pt x="942380" y="1323975"/>
                  </a:moveTo>
                  <a:lnTo>
                    <a:pt x="970806" y="1323975"/>
                  </a:lnTo>
                  <a:lnTo>
                    <a:pt x="970806" y="1542157"/>
                  </a:lnTo>
                  <a:lnTo>
                    <a:pt x="923925" y="1542157"/>
                  </a:lnTo>
                  <a:lnTo>
                    <a:pt x="923925" y="1376958"/>
                  </a:lnTo>
                  <a:cubicBezTo>
                    <a:pt x="921346" y="1379240"/>
                    <a:pt x="918295" y="1381398"/>
                    <a:pt x="914772" y="1383432"/>
                  </a:cubicBezTo>
                  <a:cubicBezTo>
                    <a:pt x="911250" y="1385466"/>
                    <a:pt x="907505" y="1387302"/>
                    <a:pt x="903536" y="1388939"/>
                  </a:cubicBezTo>
                  <a:cubicBezTo>
                    <a:pt x="899567" y="1390576"/>
                    <a:pt x="895450" y="1391965"/>
                    <a:pt x="891183" y="1393106"/>
                  </a:cubicBezTo>
                  <a:cubicBezTo>
                    <a:pt x="886917" y="1394247"/>
                    <a:pt x="882700" y="1395065"/>
                    <a:pt x="878533" y="1395561"/>
                  </a:cubicBezTo>
                  <a:lnTo>
                    <a:pt x="878533" y="1355973"/>
                  </a:lnTo>
                  <a:cubicBezTo>
                    <a:pt x="890737" y="1352401"/>
                    <a:pt x="902246" y="1347837"/>
                    <a:pt x="913061" y="1342281"/>
                  </a:cubicBezTo>
                  <a:cubicBezTo>
                    <a:pt x="923876" y="1336725"/>
                    <a:pt x="933649" y="1330623"/>
                    <a:pt x="942380" y="1323975"/>
                  </a:cubicBezTo>
                  <a:close/>
                  <a:moveTo>
                    <a:pt x="599480" y="1323975"/>
                  </a:moveTo>
                  <a:lnTo>
                    <a:pt x="627906" y="1323975"/>
                  </a:lnTo>
                  <a:lnTo>
                    <a:pt x="627906" y="1542157"/>
                  </a:lnTo>
                  <a:lnTo>
                    <a:pt x="581025" y="1542157"/>
                  </a:lnTo>
                  <a:lnTo>
                    <a:pt x="581025" y="1376958"/>
                  </a:lnTo>
                  <a:cubicBezTo>
                    <a:pt x="578446" y="1379240"/>
                    <a:pt x="575395" y="1381398"/>
                    <a:pt x="571872" y="1383432"/>
                  </a:cubicBezTo>
                  <a:cubicBezTo>
                    <a:pt x="568350" y="1385466"/>
                    <a:pt x="564605" y="1387302"/>
                    <a:pt x="560636" y="1388939"/>
                  </a:cubicBezTo>
                  <a:cubicBezTo>
                    <a:pt x="556667" y="1390576"/>
                    <a:pt x="552549" y="1391965"/>
                    <a:pt x="548283" y="1393106"/>
                  </a:cubicBezTo>
                  <a:cubicBezTo>
                    <a:pt x="544017" y="1394247"/>
                    <a:pt x="539800" y="1395065"/>
                    <a:pt x="535633" y="1395561"/>
                  </a:cubicBezTo>
                  <a:lnTo>
                    <a:pt x="535633" y="1355973"/>
                  </a:lnTo>
                  <a:cubicBezTo>
                    <a:pt x="547837" y="1352401"/>
                    <a:pt x="559346" y="1347837"/>
                    <a:pt x="570161" y="1342281"/>
                  </a:cubicBezTo>
                  <a:cubicBezTo>
                    <a:pt x="580976" y="1336725"/>
                    <a:pt x="590749" y="1330623"/>
                    <a:pt x="599480" y="1323975"/>
                  </a:cubicBezTo>
                  <a:close/>
                  <a:moveTo>
                    <a:pt x="256580" y="1323975"/>
                  </a:moveTo>
                  <a:lnTo>
                    <a:pt x="285006" y="1323975"/>
                  </a:lnTo>
                  <a:lnTo>
                    <a:pt x="285006" y="1542157"/>
                  </a:lnTo>
                  <a:lnTo>
                    <a:pt x="238125" y="1542157"/>
                  </a:lnTo>
                  <a:lnTo>
                    <a:pt x="238125" y="1376958"/>
                  </a:lnTo>
                  <a:cubicBezTo>
                    <a:pt x="235546" y="1379240"/>
                    <a:pt x="232495" y="1381398"/>
                    <a:pt x="228972" y="1383432"/>
                  </a:cubicBezTo>
                  <a:cubicBezTo>
                    <a:pt x="225450" y="1385466"/>
                    <a:pt x="221705" y="1387302"/>
                    <a:pt x="217736" y="1388939"/>
                  </a:cubicBezTo>
                  <a:cubicBezTo>
                    <a:pt x="213767" y="1390576"/>
                    <a:pt x="209650" y="1391965"/>
                    <a:pt x="205383" y="1393106"/>
                  </a:cubicBezTo>
                  <a:cubicBezTo>
                    <a:pt x="201117" y="1394247"/>
                    <a:pt x="196900" y="1395065"/>
                    <a:pt x="192733" y="1395561"/>
                  </a:cubicBezTo>
                  <a:lnTo>
                    <a:pt x="192733" y="1355973"/>
                  </a:lnTo>
                  <a:cubicBezTo>
                    <a:pt x="204937" y="1352401"/>
                    <a:pt x="216446" y="1347837"/>
                    <a:pt x="227261" y="1342281"/>
                  </a:cubicBezTo>
                  <a:cubicBezTo>
                    <a:pt x="238076" y="1336725"/>
                    <a:pt x="247849" y="1330623"/>
                    <a:pt x="256580" y="1323975"/>
                  </a:cubicBezTo>
                  <a:close/>
                  <a:moveTo>
                    <a:pt x="1792784" y="1027658"/>
                  </a:moveTo>
                  <a:cubicBezTo>
                    <a:pt x="1772444" y="1027658"/>
                    <a:pt x="1762274" y="1053207"/>
                    <a:pt x="1762274" y="1104305"/>
                  </a:cubicBezTo>
                  <a:cubicBezTo>
                    <a:pt x="1762274" y="1152426"/>
                    <a:pt x="1772246" y="1176486"/>
                    <a:pt x="1792189" y="1176486"/>
                  </a:cubicBezTo>
                  <a:cubicBezTo>
                    <a:pt x="1811635" y="1176486"/>
                    <a:pt x="1821359" y="1151682"/>
                    <a:pt x="1821359" y="1102072"/>
                  </a:cubicBezTo>
                  <a:cubicBezTo>
                    <a:pt x="1821359" y="1052463"/>
                    <a:pt x="1811834" y="1027658"/>
                    <a:pt x="1792784" y="1027658"/>
                  </a:cubicBezTo>
                  <a:close/>
                  <a:moveTo>
                    <a:pt x="1449884" y="1027658"/>
                  </a:moveTo>
                  <a:cubicBezTo>
                    <a:pt x="1429544" y="1027658"/>
                    <a:pt x="1419374" y="1053207"/>
                    <a:pt x="1419374" y="1104305"/>
                  </a:cubicBezTo>
                  <a:cubicBezTo>
                    <a:pt x="1419374" y="1152426"/>
                    <a:pt x="1429346" y="1176486"/>
                    <a:pt x="1449289" y="1176486"/>
                  </a:cubicBezTo>
                  <a:cubicBezTo>
                    <a:pt x="1468736" y="1176486"/>
                    <a:pt x="1478459" y="1151682"/>
                    <a:pt x="1478459" y="1102072"/>
                  </a:cubicBezTo>
                  <a:cubicBezTo>
                    <a:pt x="1478459" y="1052463"/>
                    <a:pt x="1468934" y="1027658"/>
                    <a:pt x="1449884" y="1027658"/>
                  </a:cubicBezTo>
                  <a:close/>
                  <a:moveTo>
                    <a:pt x="1106984" y="1027658"/>
                  </a:moveTo>
                  <a:cubicBezTo>
                    <a:pt x="1086644" y="1027658"/>
                    <a:pt x="1076474" y="1053207"/>
                    <a:pt x="1076474" y="1104305"/>
                  </a:cubicBezTo>
                  <a:cubicBezTo>
                    <a:pt x="1076474" y="1152426"/>
                    <a:pt x="1086446" y="1176486"/>
                    <a:pt x="1106389" y="1176486"/>
                  </a:cubicBezTo>
                  <a:cubicBezTo>
                    <a:pt x="1125836" y="1176486"/>
                    <a:pt x="1135559" y="1151682"/>
                    <a:pt x="1135559" y="1102072"/>
                  </a:cubicBezTo>
                  <a:cubicBezTo>
                    <a:pt x="1135559" y="1052463"/>
                    <a:pt x="1126034" y="1027658"/>
                    <a:pt x="1106984" y="1027658"/>
                  </a:cubicBezTo>
                  <a:close/>
                  <a:moveTo>
                    <a:pt x="764084" y="1027658"/>
                  </a:moveTo>
                  <a:cubicBezTo>
                    <a:pt x="743744" y="1027658"/>
                    <a:pt x="733574" y="1053207"/>
                    <a:pt x="733574" y="1104305"/>
                  </a:cubicBezTo>
                  <a:cubicBezTo>
                    <a:pt x="733574" y="1152426"/>
                    <a:pt x="743546" y="1176486"/>
                    <a:pt x="763489" y="1176486"/>
                  </a:cubicBezTo>
                  <a:cubicBezTo>
                    <a:pt x="782936" y="1176486"/>
                    <a:pt x="792659" y="1151682"/>
                    <a:pt x="792659" y="1102072"/>
                  </a:cubicBezTo>
                  <a:cubicBezTo>
                    <a:pt x="792659" y="1052463"/>
                    <a:pt x="783134" y="1027658"/>
                    <a:pt x="764084" y="1027658"/>
                  </a:cubicBezTo>
                  <a:close/>
                  <a:moveTo>
                    <a:pt x="421184" y="1027658"/>
                  </a:moveTo>
                  <a:cubicBezTo>
                    <a:pt x="400844" y="1027658"/>
                    <a:pt x="390674" y="1053207"/>
                    <a:pt x="390674" y="1104305"/>
                  </a:cubicBezTo>
                  <a:cubicBezTo>
                    <a:pt x="390674" y="1152426"/>
                    <a:pt x="400646" y="1176486"/>
                    <a:pt x="420589" y="1176486"/>
                  </a:cubicBezTo>
                  <a:cubicBezTo>
                    <a:pt x="440035" y="1176486"/>
                    <a:pt x="449759" y="1151682"/>
                    <a:pt x="449759" y="1102072"/>
                  </a:cubicBezTo>
                  <a:cubicBezTo>
                    <a:pt x="449759" y="1052463"/>
                    <a:pt x="440234" y="1027658"/>
                    <a:pt x="421184" y="1027658"/>
                  </a:cubicBezTo>
                  <a:close/>
                  <a:moveTo>
                    <a:pt x="78284" y="1027658"/>
                  </a:moveTo>
                  <a:cubicBezTo>
                    <a:pt x="57944" y="1027658"/>
                    <a:pt x="47774" y="1053207"/>
                    <a:pt x="47774" y="1104305"/>
                  </a:cubicBezTo>
                  <a:cubicBezTo>
                    <a:pt x="47774" y="1152426"/>
                    <a:pt x="57746" y="1176486"/>
                    <a:pt x="77689" y="1176486"/>
                  </a:cubicBezTo>
                  <a:cubicBezTo>
                    <a:pt x="97135" y="1176486"/>
                    <a:pt x="106859" y="1151682"/>
                    <a:pt x="106859" y="1102072"/>
                  </a:cubicBezTo>
                  <a:cubicBezTo>
                    <a:pt x="106859" y="1052463"/>
                    <a:pt x="97334" y="1027658"/>
                    <a:pt x="78284" y="1027658"/>
                  </a:cubicBezTo>
                  <a:close/>
                  <a:moveTo>
                    <a:pt x="2119055" y="995735"/>
                  </a:moveTo>
                  <a:lnTo>
                    <a:pt x="2121009" y="1034448"/>
                  </a:lnTo>
                  <a:lnTo>
                    <a:pt x="2112802" y="1046820"/>
                  </a:lnTo>
                  <a:cubicBezTo>
                    <a:pt x="2107717" y="1059594"/>
                    <a:pt x="2105174" y="1078756"/>
                    <a:pt x="2105174" y="1104305"/>
                  </a:cubicBezTo>
                  <a:cubicBezTo>
                    <a:pt x="2105174" y="1128365"/>
                    <a:pt x="2107667" y="1146411"/>
                    <a:pt x="2112653" y="1158441"/>
                  </a:cubicBezTo>
                  <a:lnTo>
                    <a:pt x="2116435" y="1163917"/>
                  </a:lnTo>
                  <a:lnTo>
                    <a:pt x="2116386" y="1164899"/>
                  </a:lnTo>
                  <a:lnTo>
                    <a:pt x="2109848" y="1207738"/>
                  </a:lnTo>
                  <a:lnTo>
                    <a:pt x="2100263" y="1205815"/>
                  </a:lnTo>
                  <a:cubicBezTo>
                    <a:pt x="2071688" y="1192439"/>
                    <a:pt x="2057400" y="1158999"/>
                    <a:pt x="2057400" y="1105495"/>
                  </a:cubicBezTo>
                  <a:cubicBezTo>
                    <a:pt x="2057400" y="1068487"/>
                    <a:pt x="2064271" y="1040284"/>
                    <a:pt x="2078013" y="1020887"/>
                  </a:cubicBezTo>
                  <a:cubicBezTo>
                    <a:pt x="2084884" y="1011188"/>
                    <a:pt x="2093299" y="1003914"/>
                    <a:pt x="2103258" y="999065"/>
                  </a:cubicBezTo>
                  <a:close/>
                  <a:moveTo>
                    <a:pt x="1794867" y="991791"/>
                  </a:moveTo>
                  <a:cubicBezTo>
                    <a:pt x="1844477" y="991791"/>
                    <a:pt x="1869281" y="1028055"/>
                    <a:pt x="1869281" y="1100584"/>
                  </a:cubicBezTo>
                  <a:cubicBezTo>
                    <a:pt x="1869281" y="1136700"/>
                    <a:pt x="1862510" y="1164382"/>
                    <a:pt x="1848966" y="1183630"/>
                  </a:cubicBezTo>
                  <a:cubicBezTo>
                    <a:pt x="1835423" y="1202879"/>
                    <a:pt x="1816001" y="1212503"/>
                    <a:pt x="1790700" y="1212503"/>
                  </a:cubicBezTo>
                  <a:cubicBezTo>
                    <a:pt x="1739900" y="1212503"/>
                    <a:pt x="1714500" y="1176834"/>
                    <a:pt x="1714500" y="1105495"/>
                  </a:cubicBezTo>
                  <a:cubicBezTo>
                    <a:pt x="1714500" y="1068487"/>
                    <a:pt x="1721371" y="1040284"/>
                    <a:pt x="1735113" y="1020887"/>
                  </a:cubicBezTo>
                  <a:cubicBezTo>
                    <a:pt x="1748855" y="1001489"/>
                    <a:pt x="1768773" y="991791"/>
                    <a:pt x="1794867" y="991791"/>
                  </a:cubicBezTo>
                  <a:close/>
                  <a:moveTo>
                    <a:pt x="1451967" y="991791"/>
                  </a:moveTo>
                  <a:cubicBezTo>
                    <a:pt x="1501577" y="991791"/>
                    <a:pt x="1526382" y="1028055"/>
                    <a:pt x="1526382" y="1100584"/>
                  </a:cubicBezTo>
                  <a:cubicBezTo>
                    <a:pt x="1526382" y="1136700"/>
                    <a:pt x="1519610" y="1164382"/>
                    <a:pt x="1506067" y="1183630"/>
                  </a:cubicBezTo>
                  <a:cubicBezTo>
                    <a:pt x="1492523" y="1202879"/>
                    <a:pt x="1473101" y="1212503"/>
                    <a:pt x="1447800" y="1212503"/>
                  </a:cubicBezTo>
                  <a:cubicBezTo>
                    <a:pt x="1397000" y="1212503"/>
                    <a:pt x="1371600" y="1176834"/>
                    <a:pt x="1371600" y="1105495"/>
                  </a:cubicBezTo>
                  <a:cubicBezTo>
                    <a:pt x="1371600" y="1068487"/>
                    <a:pt x="1378471" y="1040284"/>
                    <a:pt x="1392213" y="1020887"/>
                  </a:cubicBezTo>
                  <a:cubicBezTo>
                    <a:pt x="1405955" y="1001489"/>
                    <a:pt x="1425873" y="991791"/>
                    <a:pt x="1451967" y="991791"/>
                  </a:cubicBezTo>
                  <a:close/>
                  <a:moveTo>
                    <a:pt x="1109067" y="991791"/>
                  </a:moveTo>
                  <a:cubicBezTo>
                    <a:pt x="1158677" y="991791"/>
                    <a:pt x="1183482" y="1028055"/>
                    <a:pt x="1183482" y="1100584"/>
                  </a:cubicBezTo>
                  <a:cubicBezTo>
                    <a:pt x="1183482" y="1136700"/>
                    <a:pt x="1176710" y="1164382"/>
                    <a:pt x="1163167" y="1183630"/>
                  </a:cubicBezTo>
                  <a:cubicBezTo>
                    <a:pt x="1149623" y="1202879"/>
                    <a:pt x="1130201" y="1212503"/>
                    <a:pt x="1104900" y="1212503"/>
                  </a:cubicBezTo>
                  <a:cubicBezTo>
                    <a:pt x="1054100" y="1212503"/>
                    <a:pt x="1028700" y="1176834"/>
                    <a:pt x="1028700" y="1105495"/>
                  </a:cubicBezTo>
                  <a:cubicBezTo>
                    <a:pt x="1028700" y="1068487"/>
                    <a:pt x="1035571" y="1040284"/>
                    <a:pt x="1049313" y="1020887"/>
                  </a:cubicBezTo>
                  <a:cubicBezTo>
                    <a:pt x="1063055" y="1001489"/>
                    <a:pt x="1082973" y="991791"/>
                    <a:pt x="1109067" y="991791"/>
                  </a:cubicBezTo>
                  <a:close/>
                  <a:moveTo>
                    <a:pt x="766167" y="991791"/>
                  </a:moveTo>
                  <a:cubicBezTo>
                    <a:pt x="815777" y="991791"/>
                    <a:pt x="840582" y="1028055"/>
                    <a:pt x="840582" y="1100584"/>
                  </a:cubicBezTo>
                  <a:cubicBezTo>
                    <a:pt x="840582" y="1136700"/>
                    <a:pt x="833810" y="1164382"/>
                    <a:pt x="820267" y="1183630"/>
                  </a:cubicBezTo>
                  <a:cubicBezTo>
                    <a:pt x="806723" y="1202879"/>
                    <a:pt x="787301" y="1212503"/>
                    <a:pt x="762000" y="1212503"/>
                  </a:cubicBezTo>
                  <a:cubicBezTo>
                    <a:pt x="711200" y="1212503"/>
                    <a:pt x="685800" y="1176834"/>
                    <a:pt x="685800" y="1105495"/>
                  </a:cubicBezTo>
                  <a:cubicBezTo>
                    <a:pt x="685800" y="1068487"/>
                    <a:pt x="692671" y="1040284"/>
                    <a:pt x="706413" y="1020887"/>
                  </a:cubicBezTo>
                  <a:cubicBezTo>
                    <a:pt x="720155" y="1001489"/>
                    <a:pt x="740073" y="991791"/>
                    <a:pt x="766167" y="991791"/>
                  </a:cubicBezTo>
                  <a:close/>
                  <a:moveTo>
                    <a:pt x="423268" y="991791"/>
                  </a:moveTo>
                  <a:cubicBezTo>
                    <a:pt x="472877" y="991791"/>
                    <a:pt x="497682" y="1028055"/>
                    <a:pt x="497682" y="1100584"/>
                  </a:cubicBezTo>
                  <a:cubicBezTo>
                    <a:pt x="497682" y="1136700"/>
                    <a:pt x="490910" y="1164382"/>
                    <a:pt x="477367" y="1183630"/>
                  </a:cubicBezTo>
                  <a:cubicBezTo>
                    <a:pt x="463823" y="1202879"/>
                    <a:pt x="444401" y="1212503"/>
                    <a:pt x="419100" y="1212503"/>
                  </a:cubicBezTo>
                  <a:cubicBezTo>
                    <a:pt x="368300" y="1212503"/>
                    <a:pt x="342900" y="1176834"/>
                    <a:pt x="342900" y="1105495"/>
                  </a:cubicBezTo>
                  <a:cubicBezTo>
                    <a:pt x="342900" y="1068487"/>
                    <a:pt x="349771" y="1040284"/>
                    <a:pt x="363513" y="1020887"/>
                  </a:cubicBezTo>
                  <a:cubicBezTo>
                    <a:pt x="377255" y="1001489"/>
                    <a:pt x="397173" y="991791"/>
                    <a:pt x="423268" y="991791"/>
                  </a:cubicBezTo>
                  <a:close/>
                  <a:moveTo>
                    <a:pt x="80368" y="991791"/>
                  </a:moveTo>
                  <a:cubicBezTo>
                    <a:pt x="129977" y="991791"/>
                    <a:pt x="154782" y="1028055"/>
                    <a:pt x="154782" y="1100584"/>
                  </a:cubicBezTo>
                  <a:cubicBezTo>
                    <a:pt x="154782" y="1136700"/>
                    <a:pt x="148010" y="1164382"/>
                    <a:pt x="134467" y="1183630"/>
                  </a:cubicBezTo>
                  <a:cubicBezTo>
                    <a:pt x="120923" y="1202879"/>
                    <a:pt x="101501" y="1212503"/>
                    <a:pt x="76200" y="1212503"/>
                  </a:cubicBezTo>
                  <a:cubicBezTo>
                    <a:pt x="25400" y="1212503"/>
                    <a:pt x="0" y="1176834"/>
                    <a:pt x="0" y="1105495"/>
                  </a:cubicBezTo>
                  <a:cubicBezTo>
                    <a:pt x="0" y="1068487"/>
                    <a:pt x="6871" y="1040284"/>
                    <a:pt x="20613" y="1020887"/>
                  </a:cubicBezTo>
                  <a:cubicBezTo>
                    <a:pt x="34355" y="1001489"/>
                    <a:pt x="54273" y="991791"/>
                    <a:pt x="80368" y="991791"/>
                  </a:cubicBezTo>
                  <a:close/>
                  <a:moveTo>
                    <a:pt x="1971080" y="990600"/>
                  </a:moveTo>
                  <a:lnTo>
                    <a:pt x="1999506" y="990600"/>
                  </a:lnTo>
                  <a:lnTo>
                    <a:pt x="1999506" y="1208782"/>
                  </a:lnTo>
                  <a:lnTo>
                    <a:pt x="1952625" y="1208782"/>
                  </a:lnTo>
                  <a:lnTo>
                    <a:pt x="1952625" y="1043583"/>
                  </a:lnTo>
                  <a:cubicBezTo>
                    <a:pt x="1950046" y="1045865"/>
                    <a:pt x="1946995" y="1048023"/>
                    <a:pt x="1943472" y="1050057"/>
                  </a:cubicBezTo>
                  <a:cubicBezTo>
                    <a:pt x="1939950" y="1052091"/>
                    <a:pt x="1936205" y="1053927"/>
                    <a:pt x="1932236" y="1055564"/>
                  </a:cubicBezTo>
                  <a:cubicBezTo>
                    <a:pt x="1928267" y="1057201"/>
                    <a:pt x="1924150" y="1058590"/>
                    <a:pt x="1919883" y="1059731"/>
                  </a:cubicBezTo>
                  <a:cubicBezTo>
                    <a:pt x="1915617" y="1060872"/>
                    <a:pt x="1911400" y="1061690"/>
                    <a:pt x="1907233" y="1062186"/>
                  </a:cubicBezTo>
                  <a:lnTo>
                    <a:pt x="1907233" y="1022598"/>
                  </a:lnTo>
                  <a:cubicBezTo>
                    <a:pt x="1919437" y="1019026"/>
                    <a:pt x="1930946" y="1014462"/>
                    <a:pt x="1941761" y="1008906"/>
                  </a:cubicBezTo>
                  <a:cubicBezTo>
                    <a:pt x="1952576" y="1003350"/>
                    <a:pt x="1962349" y="997248"/>
                    <a:pt x="1971080" y="990600"/>
                  </a:cubicBezTo>
                  <a:close/>
                  <a:moveTo>
                    <a:pt x="1628180" y="990600"/>
                  </a:moveTo>
                  <a:lnTo>
                    <a:pt x="1656606" y="990600"/>
                  </a:lnTo>
                  <a:lnTo>
                    <a:pt x="1656606" y="1208782"/>
                  </a:lnTo>
                  <a:lnTo>
                    <a:pt x="1609725" y="1208782"/>
                  </a:lnTo>
                  <a:lnTo>
                    <a:pt x="1609725" y="1043583"/>
                  </a:lnTo>
                  <a:cubicBezTo>
                    <a:pt x="1607146" y="1045865"/>
                    <a:pt x="1604095" y="1048023"/>
                    <a:pt x="1600572" y="1050057"/>
                  </a:cubicBezTo>
                  <a:cubicBezTo>
                    <a:pt x="1597050" y="1052091"/>
                    <a:pt x="1593305" y="1053927"/>
                    <a:pt x="1589336" y="1055564"/>
                  </a:cubicBezTo>
                  <a:cubicBezTo>
                    <a:pt x="1585367" y="1057201"/>
                    <a:pt x="1581250" y="1058590"/>
                    <a:pt x="1576983" y="1059731"/>
                  </a:cubicBezTo>
                  <a:cubicBezTo>
                    <a:pt x="1572717" y="1060872"/>
                    <a:pt x="1568500" y="1061690"/>
                    <a:pt x="1564333" y="1062186"/>
                  </a:cubicBezTo>
                  <a:lnTo>
                    <a:pt x="1564333" y="1022598"/>
                  </a:lnTo>
                  <a:cubicBezTo>
                    <a:pt x="1576537" y="1019026"/>
                    <a:pt x="1588046" y="1014462"/>
                    <a:pt x="1598861" y="1008906"/>
                  </a:cubicBezTo>
                  <a:cubicBezTo>
                    <a:pt x="1609676" y="1003350"/>
                    <a:pt x="1619449" y="997248"/>
                    <a:pt x="1628180" y="990600"/>
                  </a:cubicBezTo>
                  <a:close/>
                  <a:moveTo>
                    <a:pt x="1285280" y="990600"/>
                  </a:moveTo>
                  <a:lnTo>
                    <a:pt x="1313706" y="990600"/>
                  </a:lnTo>
                  <a:lnTo>
                    <a:pt x="1313706" y="1208782"/>
                  </a:lnTo>
                  <a:lnTo>
                    <a:pt x="1266825" y="1208782"/>
                  </a:lnTo>
                  <a:lnTo>
                    <a:pt x="1266825" y="1043583"/>
                  </a:lnTo>
                  <a:cubicBezTo>
                    <a:pt x="1264246" y="1045865"/>
                    <a:pt x="1261195" y="1048023"/>
                    <a:pt x="1257672" y="1050057"/>
                  </a:cubicBezTo>
                  <a:cubicBezTo>
                    <a:pt x="1254150" y="1052091"/>
                    <a:pt x="1250405" y="1053927"/>
                    <a:pt x="1246436" y="1055564"/>
                  </a:cubicBezTo>
                  <a:cubicBezTo>
                    <a:pt x="1242467" y="1057201"/>
                    <a:pt x="1238350" y="1058590"/>
                    <a:pt x="1234083" y="1059731"/>
                  </a:cubicBezTo>
                  <a:cubicBezTo>
                    <a:pt x="1229817" y="1060872"/>
                    <a:pt x="1225600" y="1061690"/>
                    <a:pt x="1221433" y="1062186"/>
                  </a:cubicBezTo>
                  <a:lnTo>
                    <a:pt x="1221433" y="1022598"/>
                  </a:lnTo>
                  <a:cubicBezTo>
                    <a:pt x="1233637" y="1019026"/>
                    <a:pt x="1245146" y="1014462"/>
                    <a:pt x="1255961" y="1008906"/>
                  </a:cubicBezTo>
                  <a:cubicBezTo>
                    <a:pt x="1266776" y="1003350"/>
                    <a:pt x="1276549" y="997248"/>
                    <a:pt x="1285280" y="990600"/>
                  </a:cubicBezTo>
                  <a:close/>
                  <a:moveTo>
                    <a:pt x="942380" y="990600"/>
                  </a:moveTo>
                  <a:lnTo>
                    <a:pt x="970806" y="990600"/>
                  </a:lnTo>
                  <a:lnTo>
                    <a:pt x="970806" y="1208782"/>
                  </a:lnTo>
                  <a:lnTo>
                    <a:pt x="923925" y="1208782"/>
                  </a:lnTo>
                  <a:lnTo>
                    <a:pt x="923925" y="1043583"/>
                  </a:lnTo>
                  <a:cubicBezTo>
                    <a:pt x="921346" y="1045865"/>
                    <a:pt x="918295" y="1048023"/>
                    <a:pt x="914772" y="1050057"/>
                  </a:cubicBezTo>
                  <a:cubicBezTo>
                    <a:pt x="911250" y="1052091"/>
                    <a:pt x="907505" y="1053927"/>
                    <a:pt x="903536" y="1055564"/>
                  </a:cubicBezTo>
                  <a:cubicBezTo>
                    <a:pt x="899567" y="1057201"/>
                    <a:pt x="895450" y="1058590"/>
                    <a:pt x="891183" y="1059731"/>
                  </a:cubicBezTo>
                  <a:cubicBezTo>
                    <a:pt x="886917" y="1060872"/>
                    <a:pt x="882700" y="1061690"/>
                    <a:pt x="878533" y="1062186"/>
                  </a:cubicBezTo>
                  <a:lnTo>
                    <a:pt x="878533" y="1022598"/>
                  </a:lnTo>
                  <a:cubicBezTo>
                    <a:pt x="890737" y="1019026"/>
                    <a:pt x="902246" y="1014462"/>
                    <a:pt x="913061" y="1008906"/>
                  </a:cubicBezTo>
                  <a:cubicBezTo>
                    <a:pt x="923876" y="1003350"/>
                    <a:pt x="933649" y="997248"/>
                    <a:pt x="942380" y="990600"/>
                  </a:cubicBezTo>
                  <a:close/>
                  <a:moveTo>
                    <a:pt x="599480" y="990600"/>
                  </a:moveTo>
                  <a:lnTo>
                    <a:pt x="627906" y="990600"/>
                  </a:lnTo>
                  <a:lnTo>
                    <a:pt x="627906" y="1208782"/>
                  </a:lnTo>
                  <a:lnTo>
                    <a:pt x="581025" y="1208782"/>
                  </a:lnTo>
                  <a:lnTo>
                    <a:pt x="581025" y="1043583"/>
                  </a:lnTo>
                  <a:cubicBezTo>
                    <a:pt x="578446" y="1045865"/>
                    <a:pt x="575395" y="1048023"/>
                    <a:pt x="571872" y="1050057"/>
                  </a:cubicBezTo>
                  <a:cubicBezTo>
                    <a:pt x="568350" y="1052091"/>
                    <a:pt x="564605" y="1053927"/>
                    <a:pt x="560636" y="1055564"/>
                  </a:cubicBezTo>
                  <a:cubicBezTo>
                    <a:pt x="556667" y="1057201"/>
                    <a:pt x="552549" y="1058590"/>
                    <a:pt x="548283" y="1059731"/>
                  </a:cubicBezTo>
                  <a:cubicBezTo>
                    <a:pt x="544017" y="1060872"/>
                    <a:pt x="539800" y="1061690"/>
                    <a:pt x="535633" y="1062186"/>
                  </a:cubicBezTo>
                  <a:lnTo>
                    <a:pt x="535633" y="1022598"/>
                  </a:lnTo>
                  <a:cubicBezTo>
                    <a:pt x="547837" y="1019026"/>
                    <a:pt x="559346" y="1014462"/>
                    <a:pt x="570161" y="1008906"/>
                  </a:cubicBezTo>
                  <a:cubicBezTo>
                    <a:pt x="580976" y="1003350"/>
                    <a:pt x="590749" y="997248"/>
                    <a:pt x="599480" y="990600"/>
                  </a:cubicBezTo>
                  <a:close/>
                  <a:moveTo>
                    <a:pt x="256580" y="990600"/>
                  </a:moveTo>
                  <a:lnTo>
                    <a:pt x="285006" y="990600"/>
                  </a:lnTo>
                  <a:lnTo>
                    <a:pt x="285006" y="1208782"/>
                  </a:lnTo>
                  <a:lnTo>
                    <a:pt x="238125" y="1208782"/>
                  </a:lnTo>
                  <a:lnTo>
                    <a:pt x="238125" y="1043583"/>
                  </a:lnTo>
                  <a:cubicBezTo>
                    <a:pt x="235546" y="1045865"/>
                    <a:pt x="232495" y="1048023"/>
                    <a:pt x="228972" y="1050057"/>
                  </a:cubicBezTo>
                  <a:cubicBezTo>
                    <a:pt x="225450" y="1052091"/>
                    <a:pt x="221705" y="1053927"/>
                    <a:pt x="217736" y="1055564"/>
                  </a:cubicBezTo>
                  <a:cubicBezTo>
                    <a:pt x="213767" y="1057201"/>
                    <a:pt x="209650" y="1058590"/>
                    <a:pt x="205383" y="1059731"/>
                  </a:cubicBezTo>
                  <a:cubicBezTo>
                    <a:pt x="201117" y="1060872"/>
                    <a:pt x="196900" y="1061690"/>
                    <a:pt x="192733" y="1062186"/>
                  </a:cubicBezTo>
                  <a:lnTo>
                    <a:pt x="192733" y="1022598"/>
                  </a:lnTo>
                  <a:cubicBezTo>
                    <a:pt x="204937" y="1019026"/>
                    <a:pt x="216446" y="1014462"/>
                    <a:pt x="227261" y="1008906"/>
                  </a:cubicBezTo>
                  <a:cubicBezTo>
                    <a:pt x="238076" y="1003350"/>
                    <a:pt x="247849" y="997248"/>
                    <a:pt x="256580" y="990600"/>
                  </a:cubicBezTo>
                  <a:close/>
                  <a:moveTo>
                    <a:pt x="2066762" y="713492"/>
                  </a:moveTo>
                  <a:lnTo>
                    <a:pt x="2073178" y="731022"/>
                  </a:lnTo>
                  <a:cubicBezTo>
                    <a:pt x="2083753" y="765019"/>
                    <a:pt x="2092701" y="799734"/>
                    <a:pt x="2099933" y="835073"/>
                  </a:cubicBezTo>
                  <a:lnTo>
                    <a:pt x="2105805" y="873552"/>
                  </a:lnTo>
                  <a:lnTo>
                    <a:pt x="2100263" y="872440"/>
                  </a:lnTo>
                  <a:cubicBezTo>
                    <a:pt x="2071688" y="859064"/>
                    <a:pt x="2057400" y="825624"/>
                    <a:pt x="2057400" y="772120"/>
                  </a:cubicBezTo>
                  <a:cubicBezTo>
                    <a:pt x="2057400" y="753616"/>
                    <a:pt x="2059118" y="737313"/>
                    <a:pt x="2062553" y="723212"/>
                  </a:cubicBezTo>
                  <a:close/>
                  <a:moveTo>
                    <a:pt x="1792784" y="694283"/>
                  </a:moveTo>
                  <a:cubicBezTo>
                    <a:pt x="1772444" y="694283"/>
                    <a:pt x="1762274" y="719832"/>
                    <a:pt x="1762274" y="770930"/>
                  </a:cubicBezTo>
                  <a:cubicBezTo>
                    <a:pt x="1762274" y="819051"/>
                    <a:pt x="1772246" y="843111"/>
                    <a:pt x="1792189" y="843111"/>
                  </a:cubicBezTo>
                  <a:cubicBezTo>
                    <a:pt x="1811635" y="843111"/>
                    <a:pt x="1821359" y="818307"/>
                    <a:pt x="1821359" y="768697"/>
                  </a:cubicBezTo>
                  <a:cubicBezTo>
                    <a:pt x="1821359" y="719088"/>
                    <a:pt x="1811834" y="694283"/>
                    <a:pt x="1792784" y="694283"/>
                  </a:cubicBezTo>
                  <a:close/>
                  <a:moveTo>
                    <a:pt x="1449884" y="694283"/>
                  </a:moveTo>
                  <a:cubicBezTo>
                    <a:pt x="1429544" y="694283"/>
                    <a:pt x="1419374" y="719832"/>
                    <a:pt x="1419374" y="770930"/>
                  </a:cubicBezTo>
                  <a:cubicBezTo>
                    <a:pt x="1419374" y="819051"/>
                    <a:pt x="1429346" y="843111"/>
                    <a:pt x="1449289" y="843111"/>
                  </a:cubicBezTo>
                  <a:cubicBezTo>
                    <a:pt x="1468736" y="843111"/>
                    <a:pt x="1478459" y="818307"/>
                    <a:pt x="1478459" y="768697"/>
                  </a:cubicBezTo>
                  <a:cubicBezTo>
                    <a:pt x="1478459" y="719088"/>
                    <a:pt x="1468934" y="694283"/>
                    <a:pt x="1449884" y="694283"/>
                  </a:cubicBezTo>
                  <a:close/>
                  <a:moveTo>
                    <a:pt x="1106984" y="694283"/>
                  </a:moveTo>
                  <a:cubicBezTo>
                    <a:pt x="1086644" y="694283"/>
                    <a:pt x="1076474" y="719832"/>
                    <a:pt x="1076474" y="770930"/>
                  </a:cubicBezTo>
                  <a:cubicBezTo>
                    <a:pt x="1076474" y="819051"/>
                    <a:pt x="1086446" y="843111"/>
                    <a:pt x="1106389" y="843111"/>
                  </a:cubicBezTo>
                  <a:cubicBezTo>
                    <a:pt x="1125836" y="843111"/>
                    <a:pt x="1135559" y="818307"/>
                    <a:pt x="1135559" y="768697"/>
                  </a:cubicBezTo>
                  <a:cubicBezTo>
                    <a:pt x="1135559" y="719088"/>
                    <a:pt x="1126034" y="694283"/>
                    <a:pt x="1106984" y="694283"/>
                  </a:cubicBezTo>
                  <a:close/>
                  <a:moveTo>
                    <a:pt x="764084" y="694283"/>
                  </a:moveTo>
                  <a:cubicBezTo>
                    <a:pt x="743744" y="694283"/>
                    <a:pt x="733574" y="719832"/>
                    <a:pt x="733574" y="770930"/>
                  </a:cubicBezTo>
                  <a:cubicBezTo>
                    <a:pt x="733574" y="819051"/>
                    <a:pt x="743546" y="843111"/>
                    <a:pt x="763489" y="843111"/>
                  </a:cubicBezTo>
                  <a:cubicBezTo>
                    <a:pt x="782936" y="843111"/>
                    <a:pt x="792659" y="818307"/>
                    <a:pt x="792659" y="768697"/>
                  </a:cubicBezTo>
                  <a:cubicBezTo>
                    <a:pt x="792659" y="719088"/>
                    <a:pt x="783134" y="694283"/>
                    <a:pt x="764084" y="694283"/>
                  </a:cubicBezTo>
                  <a:close/>
                  <a:moveTo>
                    <a:pt x="421184" y="694283"/>
                  </a:moveTo>
                  <a:cubicBezTo>
                    <a:pt x="400844" y="694283"/>
                    <a:pt x="390674" y="719832"/>
                    <a:pt x="390674" y="770930"/>
                  </a:cubicBezTo>
                  <a:cubicBezTo>
                    <a:pt x="390674" y="819051"/>
                    <a:pt x="400646" y="843111"/>
                    <a:pt x="420589" y="843111"/>
                  </a:cubicBezTo>
                  <a:cubicBezTo>
                    <a:pt x="440035" y="843111"/>
                    <a:pt x="449759" y="818307"/>
                    <a:pt x="449759" y="768697"/>
                  </a:cubicBezTo>
                  <a:cubicBezTo>
                    <a:pt x="449759" y="719088"/>
                    <a:pt x="440234" y="694283"/>
                    <a:pt x="421184" y="694283"/>
                  </a:cubicBezTo>
                  <a:close/>
                  <a:moveTo>
                    <a:pt x="78284" y="694283"/>
                  </a:moveTo>
                  <a:cubicBezTo>
                    <a:pt x="57944" y="694283"/>
                    <a:pt x="47774" y="719832"/>
                    <a:pt x="47774" y="770930"/>
                  </a:cubicBezTo>
                  <a:cubicBezTo>
                    <a:pt x="47774" y="819051"/>
                    <a:pt x="57746" y="843111"/>
                    <a:pt x="77689" y="843111"/>
                  </a:cubicBezTo>
                  <a:cubicBezTo>
                    <a:pt x="97135" y="843111"/>
                    <a:pt x="106859" y="818307"/>
                    <a:pt x="106859" y="768697"/>
                  </a:cubicBezTo>
                  <a:cubicBezTo>
                    <a:pt x="106859" y="719088"/>
                    <a:pt x="97334" y="694283"/>
                    <a:pt x="78284" y="694283"/>
                  </a:cubicBezTo>
                  <a:close/>
                  <a:moveTo>
                    <a:pt x="1794867" y="658416"/>
                  </a:moveTo>
                  <a:cubicBezTo>
                    <a:pt x="1844477" y="658416"/>
                    <a:pt x="1869281" y="694680"/>
                    <a:pt x="1869281" y="767209"/>
                  </a:cubicBezTo>
                  <a:cubicBezTo>
                    <a:pt x="1869281" y="803325"/>
                    <a:pt x="1862510" y="831007"/>
                    <a:pt x="1848966" y="850255"/>
                  </a:cubicBezTo>
                  <a:cubicBezTo>
                    <a:pt x="1835423" y="869504"/>
                    <a:pt x="1816001" y="879128"/>
                    <a:pt x="1790700" y="879128"/>
                  </a:cubicBezTo>
                  <a:cubicBezTo>
                    <a:pt x="1739900" y="879128"/>
                    <a:pt x="1714500" y="843459"/>
                    <a:pt x="1714500" y="772120"/>
                  </a:cubicBezTo>
                  <a:cubicBezTo>
                    <a:pt x="1714500" y="735112"/>
                    <a:pt x="1721371" y="706909"/>
                    <a:pt x="1735113" y="687512"/>
                  </a:cubicBezTo>
                  <a:cubicBezTo>
                    <a:pt x="1748855" y="668114"/>
                    <a:pt x="1768773" y="658416"/>
                    <a:pt x="1794867" y="658416"/>
                  </a:cubicBezTo>
                  <a:close/>
                  <a:moveTo>
                    <a:pt x="1451967" y="658416"/>
                  </a:moveTo>
                  <a:cubicBezTo>
                    <a:pt x="1501577" y="658416"/>
                    <a:pt x="1526382" y="694680"/>
                    <a:pt x="1526382" y="767209"/>
                  </a:cubicBezTo>
                  <a:cubicBezTo>
                    <a:pt x="1526382" y="803325"/>
                    <a:pt x="1519610" y="831007"/>
                    <a:pt x="1506067" y="850255"/>
                  </a:cubicBezTo>
                  <a:cubicBezTo>
                    <a:pt x="1492523" y="869504"/>
                    <a:pt x="1473101" y="879128"/>
                    <a:pt x="1447800" y="879128"/>
                  </a:cubicBezTo>
                  <a:cubicBezTo>
                    <a:pt x="1397000" y="879128"/>
                    <a:pt x="1371600" y="843459"/>
                    <a:pt x="1371600" y="772120"/>
                  </a:cubicBezTo>
                  <a:cubicBezTo>
                    <a:pt x="1371600" y="735112"/>
                    <a:pt x="1378471" y="706909"/>
                    <a:pt x="1392213" y="687512"/>
                  </a:cubicBezTo>
                  <a:cubicBezTo>
                    <a:pt x="1405955" y="668114"/>
                    <a:pt x="1425873" y="658416"/>
                    <a:pt x="1451967" y="658416"/>
                  </a:cubicBezTo>
                  <a:close/>
                  <a:moveTo>
                    <a:pt x="1109067" y="658416"/>
                  </a:moveTo>
                  <a:cubicBezTo>
                    <a:pt x="1158677" y="658416"/>
                    <a:pt x="1183482" y="694680"/>
                    <a:pt x="1183482" y="767209"/>
                  </a:cubicBezTo>
                  <a:cubicBezTo>
                    <a:pt x="1183482" y="803325"/>
                    <a:pt x="1176710" y="831007"/>
                    <a:pt x="1163167" y="850255"/>
                  </a:cubicBezTo>
                  <a:cubicBezTo>
                    <a:pt x="1149623" y="869504"/>
                    <a:pt x="1130201" y="879128"/>
                    <a:pt x="1104900" y="879128"/>
                  </a:cubicBezTo>
                  <a:cubicBezTo>
                    <a:pt x="1054100" y="879128"/>
                    <a:pt x="1028700" y="843459"/>
                    <a:pt x="1028700" y="772120"/>
                  </a:cubicBezTo>
                  <a:cubicBezTo>
                    <a:pt x="1028700" y="735112"/>
                    <a:pt x="1035571" y="706909"/>
                    <a:pt x="1049313" y="687512"/>
                  </a:cubicBezTo>
                  <a:cubicBezTo>
                    <a:pt x="1063055" y="668114"/>
                    <a:pt x="1082973" y="658416"/>
                    <a:pt x="1109067" y="658416"/>
                  </a:cubicBezTo>
                  <a:close/>
                  <a:moveTo>
                    <a:pt x="766167" y="658416"/>
                  </a:moveTo>
                  <a:cubicBezTo>
                    <a:pt x="815777" y="658416"/>
                    <a:pt x="840582" y="694680"/>
                    <a:pt x="840582" y="767209"/>
                  </a:cubicBezTo>
                  <a:cubicBezTo>
                    <a:pt x="840582" y="803325"/>
                    <a:pt x="833810" y="831007"/>
                    <a:pt x="820267" y="850255"/>
                  </a:cubicBezTo>
                  <a:cubicBezTo>
                    <a:pt x="806723" y="869504"/>
                    <a:pt x="787301" y="879128"/>
                    <a:pt x="762000" y="879128"/>
                  </a:cubicBezTo>
                  <a:cubicBezTo>
                    <a:pt x="711200" y="879128"/>
                    <a:pt x="685800" y="843459"/>
                    <a:pt x="685800" y="772120"/>
                  </a:cubicBezTo>
                  <a:cubicBezTo>
                    <a:pt x="685800" y="735112"/>
                    <a:pt x="692671" y="706909"/>
                    <a:pt x="706413" y="687512"/>
                  </a:cubicBezTo>
                  <a:cubicBezTo>
                    <a:pt x="720155" y="668114"/>
                    <a:pt x="740073" y="658416"/>
                    <a:pt x="766167" y="658416"/>
                  </a:cubicBezTo>
                  <a:close/>
                  <a:moveTo>
                    <a:pt x="423268" y="658416"/>
                  </a:moveTo>
                  <a:cubicBezTo>
                    <a:pt x="472877" y="658416"/>
                    <a:pt x="497682" y="694680"/>
                    <a:pt x="497682" y="767209"/>
                  </a:cubicBezTo>
                  <a:cubicBezTo>
                    <a:pt x="497682" y="803325"/>
                    <a:pt x="490910" y="831007"/>
                    <a:pt x="477367" y="850255"/>
                  </a:cubicBezTo>
                  <a:cubicBezTo>
                    <a:pt x="463823" y="869504"/>
                    <a:pt x="444401" y="879128"/>
                    <a:pt x="419100" y="879128"/>
                  </a:cubicBezTo>
                  <a:cubicBezTo>
                    <a:pt x="368300" y="879128"/>
                    <a:pt x="342900" y="843459"/>
                    <a:pt x="342900" y="772120"/>
                  </a:cubicBezTo>
                  <a:cubicBezTo>
                    <a:pt x="342900" y="735112"/>
                    <a:pt x="349771" y="706909"/>
                    <a:pt x="363513" y="687512"/>
                  </a:cubicBezTo>
                  <a:cubicBezTo>
                    <a:pt x="377255" y="668114"/>
                    <a:pt x="397173" y="658416"/>
                    <a:pt x="423268" y="658416"/>
                  </a:cubicBezTo>
                  <a:close/>
                  <a:moveTo>
                    <a:pt x="80368" y="658416"/>
                  </a:moveTo>
                  <a:cubicBezTo>
                    <a:pt x="129977" y="658416"/>
                    <a:pt x="154782" y="694680"/>
                    <a:pt x="154782" y="767209"/>
                  </a:cubicBezTo>
                  <a:cubicBezTo>
                    <a:pt x="154782" y="803325"/>
                    <a:pt x="148010" y="831007"/>
                    <a:pt x="134467" y="850255"/>
                  </a:cubicBezTo>
                  <a:cubicBezTo>
                    <a:pt x="120923" y="869504"/>
                    <a:pt x="101501" y="879128"/>
                    <a:pt x="76200" y="879128"/>
                  </a:cubicBezTo>
                  <a:cubicBezTo>
                    <a:pt x="25400" y="879128"/>
                    <a:pt x="0" y="843459"/>
                    <a:pt x="0" y="772120"/>
                  </a:cubicBezTo>
                  <a:cubicBezTo>
                    <a:pt x="0" y="735112"/>
                    <a:pt x="6871" y="706909"/>
                    <a:pt x="20613" y="687512"/>
                  </a:cubicBezTo>
                  <a:cubicBezTo>
                    <a:pt x="34355" y="668114"/>
                    <a:pt x="54273" y="658416"/>
                    <a:pt x="80368" y="658416"/>
                  </a:cubicBezTo>
                  <a:close/>
                  <a:moveTo>
                    <a:pt x="1971080" y="657225"/>
                  </a:moveTo>
                  <a:lnTo>
                    <a:pt x="1999506" y="657225"/>
                  </a:lnTo>
                  <a:lnTo>
                    <a:pt x="1999506" y="875407"/>
                  </a:lnTo>
                  <a:lnTo>
                    <a:pt x="1952625" y="875407"/>
                  </a:lnTo>
                  <a:lnTo>
                    <a:pt x="1952625" y="710208"/>
                  </a:lnTo>
                  <a:cubicBezTo>
                    <a:pt x="1950046" y="712490"/>
                    <a:pt x="1946995" y="714648"/>
                    <a:pt x="1943472" y="716682"/>
                  </a:cubicBezTo>
                  <a:cubicBezTo>
                    <a:pt x="1939950" y="718716"/>
                    <a:pt x="1936205" y="720551"/>
                    <a:pt x="1932236" y="722189"/>
                  </a:cubicBezTo>
                  <a:cubicBezTo>
                    <a:pt x="1928267" y="723826"/>
                    <a:pt x="1924150" y="725215"/>
                    <a:pt x="1919883" y="726356"/>
                  </a:cubicBezTo>
                  <a:cubicBezTo>
                    <a:pt x="1915617" y="727497"/>
                    <a:pt x="1911400" y="728315"/>
                    <a:pt x="1907233" y="728811"/>
                  </a:cubicBezTo>
                  <a:lnTo>
                    <a:pt x="1907233" y="689223"/>
                  </a:lnTo>
                  <a:cubicBezTo>
                    <a:pt x="1919437" y="685651"/>
                    <a:pt x="1930946" y="681087"/>
                    <a:pt x="1941761" y="675531"/>
                  </a:cubicBezTo>
                  <a:cubicBezTo>
                    <a:pt x="1952576" y="669975"/>
                    <a:pt x="1962349" y="663873"/>
                    <a:pt x="1971080" y="657225"/>
                  </a:cubicBezTo>
                  <a:close/>
                  <a:moveTo>
                    <a:pt x="1628180" y="657225"/>
                  </a:moveTo>
                  <a:lnTo>
                    <a:pt x="1656606" y="657225"/>
                  </a:lnTo>
                  <a:lnTo>
                    <a:pt x="1656606" y="875407"/>
                  </a:lnTo>
                  <a:lnTo>
                    <a:pt x="1609725" y="875407"/>
                  </a:lnTo>
                  <a:lnTo>
                    <a:pt x="1609725" y="710208"/>
                  </a:lnTo>
                  <a:cubicBezTo>
                    <a:pt x="1607146" y="712490"/>
                    <a:pt x="1604095" y="714648"/>
                    <a:pt x="1600572" y="716682"/>
                  </a:cubicBezTo>
                  <a:cubicBezTo>
                    <a:pt x="1597050" y="718716"/>
                    <a:pt x="1593305" y="720551"/>
                    <a:pt x="1589336" y="722189"/>
                  </a:cubicBezTo>
                  <a:cubicBezTo>
                    <a:pt x="1585367" y="723826"/>
                    <a:pt x="1581250" y="725215"/>
                    <a:pt x="1576983" y="726356"/>
                  </a:cubicBezTo>
                  <a:cubicBezTo>
                    <a:pt x="1572717" y="727497"/>
                    <a:pt x="1568500" y="728315"/>
                    <a:pt x="1564333" y="728811"/>
                  </a:cubicBezTo>
                  <a:lnTo>
                    <a:pt x="1564333" y="689223"/>
                  </a:lnTo>
                  <a:cubicBezTo>
                    <a:pt x="1576537" y="685651"/>
                    <a:pt x="1588046" y="681087"/>
                    <a:pt x="1598861" y="675531"/>
                  </a:cubicBezTo>
                  <a:cubicBezTo>
                    <a:pt x="1609676" y="669975"/>
                    <a:pt x="1619449" y="663873"/>
                    <a:pt x="1628180" y="657225"/>
                  </a:cubicBezTo>
                  <a:close/>
                  <a:moveTo>
                    <a:pt x="1285280" y="657225"/>
                  </a:moveTo>
                  <a:lnTo>
                    <a:pt x="1313706" y="657225"/>
                  </a:lnTo>
                  <a:lnTo>
                    <a:pt x="1313706" y="875407"/>
                  </a:lnTo>
                  <a:lnTo>
                    <a:pt x="1266825" y="875407"/>
                  </a:lnTo>
                  <a:lnTo>
                    <a:pt x="1266825" y="710208"/>
                  </a:lnTo>
                  <a:cubicBezTo>
                    <a:pt x="1264246" y="712490"/>
                    <a:pt x="1261195" y="714648"/>
                    <a:pt x="1257672" y="716682"/>
                  </a:cubicBezTo>
                  <a:cubicBezTo>
                    <a:pt x="1254150" y="718716"/>
                    <a:pt x="1250405" y="720551"/>
                    <a:pt x="1246436" y="722189"/>
                  </a:cubicBezTo>
                  <a:cubicBezTo>
                    <a:pt x="1242467" y="723826"/>
                    <a:pt x="1238350" y="725215"/>
                    <a:pt x="1234083" y="726356"/>
                  </a:cubicBezTo>
                  <a:cubicBezTo>
                    <a:pt x="1229817" y="727497"/>
                    <a:pt x="1225600" y="728315"/>
                    <a:pt x="1221433" y="728811"/>
                  </a:cubicBezTo>
                  <a:lnTo>
                    <a:pt x="1221433" y="689223"/>
                  </a:lnTo>
                  <a:cubicBezTo>
                    <a:pt x="1233637" y="685651"/>
                    <a:pt x="1245146" y="681087"/>
                    <a:pt x="1255961" y="675531"/>
                  </a:cubicBezTo>
                  <a:cubicBezTo>
                    <a:pt x="1266776" y="669975"/>
                    <a:pt x="1276549" y="663873"/>
                    <a:pt x="1285280" y="657225"/>
                  </a:cubicBezTo>
                  <a:close/>
                  <a:moveTo>
                    <a:pt x="942380" y="657225"/>
                  </a:moveTo>
                  <a:lnTo>
                    <a:pt x="970806" y="657225"/>
                  </a:lnTo>
                  <a:lnTo>
                    <a:pt x="970806" y="875407"/>
                  </a:lnTo>
                  <a:lnTo>
                    <a:pt x="923925" y="875407"/>
                  </a:lnTo>
                  <a:lnTo>
                    <a:pt x="923925" y="710208"/>
                  </a:lnTo>
                  <a:cubicBezTo>
                    <a:pt x="921346" y="712490"/>
                    <a:pt x="918295" y="714648"/>
                    <a:pt x="914772" y="716682"/>
                  </a:cubicBezTo>
                  <a:cubicBezTo>
                    <a:pt x="911250" y="718716"/>
                    <a:pt x="907505" y="720551"/>
                    <a:pt x="903536" y="722189"/>
                  </a:cubicBezTo>
                  <a:cubicBezTo>
                    <a:pt x="899567" y="723826"/>
                    <a:pt x="895450" y="725215"/>
                    <a:pt x="891183" y="726356"/>
                  </a:cubicBezTo>
                  <a:cubicBezTo>
                    <a:pt x="886917" y="727497"/>
                    <a:pt x="882700" y="728315"/>
                    <a:pt x="878533" y="728811"/>
                  </a:cubicBezTo>
                  <a:lnTo>
                    <a:pt x="878533" y="689223"/>
                  </a:lnTo>
                  <a:cubicBezTo>
                    <a:pt x="890737" y="685651"/>
                    <a:pt x="902246" y="681087"/>
                    <a:pt x="913061" y="675531"/>
                  </a:cubicBezTo>
                  <a:cubicBezTo>
                    <a:pt x="923876" y="669975"/>
                    <a:pt x="933649" y="663873"/>
                    <a:pt x="942380" y="657225"/>
                  </a:cubicBezTo>
                  <a:close/>
                  <a:moveTo>
                    <a:pt x="599480" y="657225"/>
                  </a:moveTo>
                  <a:lnTo>
                    <a:pt x="627906" y="657225"/>
                  </a:lnTo>
                  <a:lnTo>
                    <a:pt x="627906" y="875407"/>
                  </a:lnTo>
                  <a:lnTo>
                    <a:pt x="581025" y="875407"/>
                  </a:lnTo>
                  <a:lnTo>
                    <a:pt x="581025" y="710208"/>
                  </a:lnTo>
                  <a:cubicBezTo>
                    <a:pt x="578446" y="712490"/>
                    <a:pt x="575395" y="714648"/>
                    <a:pt x="571872" y="716682"/>
                  </a:cubicBezTo>
                  <a:cubicBezTo>
                    <a:pt x="568350" y="718716"/>
                    <a:pt x="564605" y="720551"/>
                    <a:pt x="560636" y="722189"/>
                  </a:cubicBezTo>
                  <a:cubicBezTo>
                    <a:pt x="556667" y="723826"/>
                    <a:pt x="552549" y="725215"/>
                    <a:pt x="548283" y="726356"/>
                  </a:cubicBezTo>
                  <a:cubicBezTo>
                    <a:pt x="544017" y="727497"/>
                    <a:pt x="539800" y="728315"/>
                    <a:pt x="535633" y="728811"/>
                  </a:cubicBezTo>
                  <a:lnTo>
                    <a:pt x="535633" y="689223"/>
                  </a:lnTo>
                  <a:cubicBezTo>
                    <a:pt x="547837" y="685651"/>
                    <a:pt x="559346" y="681087"/>
                    <a:pt x="570161" y="675531"/>
                  </a:cubicBezTo>
                  <a:cubicBezTo>
                    <a:pt x="580976" y="669975"/>
                    <a:pt x="590749" y="663873"/>
                    <a:pt x="599480" y="657225"/>
                  </a:cubicBezTo>
                  <a:close/>
                  <a:moveTo>
                    <a:pt x="256580" y="657225"/>
                  </a:moveTo>
                  <a:lnTo>
                    <a:pt x="285006" y="657225"/>
                  </a:lnTo>
                  <a:lnTo>
                    <a:pt x="285006" y="875407"/>
                  </a:lnTo>
                  <a:lnTo>
                    <a:pt x="238125" y="875407"/>
                  </a:lnTo>
                  <a:lnTo>
                    <a:pt x="238125" y="710208"/>
                  </a:lnTo>
                  <a:cubicBezTo>
                    <a:pt x="235546" y="712490"/>
                    <a:pt x="232495" y="714648"/>
                    <a:pt x="228972" y="716682"/>
                  </a:cubicBezTo>
                  <a:cubicBezTo>
                    <a:pt x="225450" y="718716"/>
                    <a:pt x="221705" y="720551"/>
                    <a:pt x="217736" y="722189"/>
                  </a:cubicBezTo>
                  <a:cubicBezTo>
                    <a:pt x="213767" y="723826"/>
                    <a:pt x="209650" y="725215"/>
                    <a:pt x="205383" y="726356"/>
                  </a:cubicBezTo>
                  <a:cubicBezTo>
                    <a:pt x="201117" y="727497"/>
                    <a:pt x="196900" y="728315"/>
                    <a:pt x="192733" y="728811"/>
                  </a:cubicBezTo>
                  <a:lnTo>
                    <a:pt x="192733" y="689223"/>
                  </a:lnTo>
                  <a:cubicBezTo>
                    <a:pt x="204937" y="685651"/>
                    <a:pt x="216446" y="681087"/>
                    <a:pt x="227261" y="675531"/>
                  </a:cubicBezTo>
                  <a:cubicBezTo>
                    <a:pt x="238076" y="669975"/>
                    <a:pt x="247849" y="663873"/>
                    <a:pt x="256580" y="657225"/>
                  </a:cubicBezTo>
                  <a:close/>
                  <a:moveTo>
                    <a:pt x="1952625" y="473278"/>
                  </a:moveTo>
                  <a:lnTo>
                    <a:pt x="1990948" y="536359"/>
                  </a:lnTo>
                  <a:lnTo>
                    <a:pt x="1998269" y="551557"/>
                  </a:lnTo>
                  <a:lnTo>
                    <a:pt x="1952625" y="551557"/>
                  </a:lnTo>
                  <a:close/>
                  <a:moveTo>
                    <a:pt x="152904" y="424144"/>
                  </a:moveTo>
                  <a:lnTo>
                    <a:pt x="154782" y="443359"/>
                  </a:lnTo>
                  <a:cubicBezTo>
                    <a:pt x="154782" y="479475"/>
                    <a:pt x="148010" y="507157"/>
                    <a:pt x="134467" y="526405"/>
                  </a:cubicBezTo>
                  <a:cubicBezTo>
                    <a:pt x="120923" y="545654"/>
                    <a:pt x="101501" y="555278"/>
                    <a:pt x="76200" y="555278"/>
                  </a:cubicBezTo>
                  <a:lnTo>
                    <a:pt x="72767" y="554589"/>
                  </a:lnTo>
                  <a:lnTo>
                    <a:pt x="81549" y="536359"/>
                  </a:lnTo>
                  <a:cubicBezTo>
                    <a:pt x="98263" y="505590"/>
                    <a:pt x="116422" y="475720"/>
                    <a:pt x="135933" y="446839"/>
                  </a:cubicBezTo>
                  <a:close/>
                  <a:moveTo>
                    <a:pt x="1792784" y="370433"/>
                  </a:moveTo>
                  <a:cubicBezTo>
                    <a:pt x="1772444" y="370433"/>
                    <a:pt x="1762274" y="395982"/>
                    <a:pt x="1762274" y="447080"/>
                  </a:cubicBezTo>
                  <a:cubicBezTo>
                    <a:pt x="1762274" y="495201"/>
                    <a:pt x="1772246" y="519261"/>
                    <a:pt x="1792189" y="519261"/>
                  </a:cubicBezTo>
                  <a:cubicBezTo>
                    <a:pt x="1811635" y="519261"/>
                    <a:pt x="1821359" y="494457"/>
                    <a:pt x="1821359" y="444847"/>
                  </a:cubicBezTo>
                  <a:cubicBezTo>
                    <a:pt x="1821359" y="395238"/>
                    <a:pt x="1811834" y="370433"/>
                    <a:pt x="1792784" y="370433"/>
                  </a:cubicBezTo>
                  <a:close/>
                  <a:moveTo>
                    <a:pt x="1449884" y="370433"/>
                  </a:moveTo>
                  <a:cubicBezTo>
                    <a:pt x="1429544" y="370433"/>
                    <a:pt x="1419374" y="395982"/>
                    <a:pt x="1419374" y="447080"/>
                  </a:cubicBezTo>
                  <a:cubicBezTo>
                    <a:pt x="1419374" y="495201"/>
                    <a:pt x="1429346" y="519261"/>
                    <a:pt x="1449289" y="519261"/>
                  </a:cubicBezTo>
                  <a:cubicBezTo>
                    <a:pt x="1468736" y="519261"/>
                    <a:pt x="1478459" y="494457"/>
                    <a:pt x="1478459" y="444847"/>
                  </a:cubicBezTo>
                  <a:cubicBezTo>
                    <a:pt x="1478459" y="395238"/>
                    <a:pt x="1468934" y="370433"/>
                    <a:pt x="1449884" y="370433"/>
                  </a:cubicBezTo>
                  <a:close/>
                  <a:moveTo>
                    <a:pt x="1106984" y="370433"/>
                  </a:moveTo>
                  <a:cubicBezTo>
                    <a:pt x="1086644" y="370433"/>
                    <a:pt x="1076474" y="395982"/>
                    <a:pt x="1076474" y="447080"/>
                  </a:cubicBezTo>
                  <a:cubicBezTo>
                    <a:pt x="1076474" y="495201"/>
                    <a:pt x="1086446" y="519261"/>
                    <a:pt x="1106389" y="519261"/>
                  </a:cubicBezTo>
                  <a:cubicBezTo>
                    <a:pt x="1125836" y="519261"/>
                    <a:pt x="1135559" y="494457"/>
                    <a:pt x="1135559" y="444847"/>
                  </a:cubicBezTo>
                  <a:cubicBezTo>
                    <a:pt x="1135559" y="395238"/>
                    <a:pt x="1126034" y="370433"/>
                    <a:pt x="1106984" y="370433"/>
                  </a:cubicBezTo>
                  <a:close/>
                  <a:moveTo>
                    <a:pt x="935534" y="370433"/>
                  </a:moveTo>
                  <a:cubicBezTo>
                    <a:pt x="915194" y="370433"/>
                    <a:pt x="905024" y="395982"/>
                    <a:pt x="905024" y="447080"/>
                  </a:cubicBezTo>
                  <a:cubicBezTo>
                    <a:pt x="905024" y="495201"/>
                    <a:pt x="914996" y="519261"/>
                    <a:pt x="934939" y="519261"/>
                  </a:cubicBezTo>
                  <a:cubicBezTo>
                    <a:pt x="954386" y="519261"/>
                    <a:pt x="964109" y="494457"/>
                    <a:pt x="964109" y="444847"/>
                  </a:cubicBezTo>
                  <a:cubicBezTo>
                    <a:pt x="964109" y="395238"/>
                    <a:pt x="954584" y="370433"/>
                    <a:pt x="935534" y="370433"/>
                  </a:cubicBezTo>
                  <a:close/>
                  <a:moveTo>
                    <a:pt x="764084" y="370433"/>
                  </a:moveTo>
                  <a:cubicBezTo>
                    <a:pt x="743744" y="370433"/>
                    <a:pt x="733574" y="395982"/>
                    <a:pt x="733574" y="447080"/>
                  </a:cubicBezTo>
                  <a:cubicBezTo>
                    <a:pt x="733574" y="495201"/>
                    <a:pt x="743546" y="519261"/>
                    <a:pt x="763489" y="519261"/>
                  </a:cubicBezTo>
                  <a:cubicBezTo>
                    <a:pt x="782936" y="519261"/>
                    <a:pt x="792659" y="494457"/>
                    <a:pt x="792659" y="444847"/>
                  </a:cubicBezTo>
                  <a:cubicBezTo>
                    <a:pt x="792659" y="395238"/>
                    <a:pt x="783134" y="370433"/>
                    <a:pt x="764084" y="370433"/>
                  </a:cubicBezTo>
                  <a:close/>
                  <a:moveTo>
                    <a:pt x="421184" y="370433"/>
                  </a:moveTo>
                  <a:cubicBezTo>
                    <a:pt x="400844" y="370433"/>
                    <a:pt x="390674" y="395982"/>
                    <a:pt x="390674" y="447080"/>
                  </a:cubicBezTo>
                  <a:cubicBezTo>
                    <a:pt x="390674" y="495201"/>
                    <a:pt x="400646" y="519261"/>
                    <a:pt x="420589" y="519261"/>
                  </a:cubicBezTo>
                  <a:cubicBezTo>
                    <a:pt x="440035" y="519261"/>
                    <a:pt x="449759" y="494457"/>
                    <a:pt x="449759" y="444847"/>
                  </a:cubicBezTo>
                  <a:cubicBezTo>
                    <a:pt x="449759" y="395238"/>
                    <a:pt x="440234" y="370433"/>
                    <a:pt x="421184" y="370433"/>
                  </a:cubicBezTo>
                  <a:close/>
                  <a:moveTo>
                    <a:pt x="1794867" y="334566"/>
                  </a:moveTo>
                  <a:cubicBezTo>
                    <a:pt x="1844477" y="334566"/>
                    <a:pt x="1869281" y="370830"/>
                    <a:pt x="1869281" y="443359"/>
                  </a:cubicBezTo>
                  <a:cubicBezTo>
                    <a:pt x="1869281" y="479475"/>
                    <a:pt x="1862510" y="507157"/>
                    <a:pt x="1848966" y="526405"/>
                  </a:cubicBezTo>
                  <a:cubicBezTo>
                    <a:pt x="1835423" y="545654"/>
                    <a:pt x="1816001" y="555278"/>
                    <a:pt x="1790700" y="555278"/>
                  </a:cubicBezTo>
                  <a:cubicBezTo>
                    <a:pt x="1739900" y="555278"/>
                    <a:pt x="1714500" y="519609"/>
                    <a:pt x="1714500" y="448270"/>
                  </a:cubicBezTo>
                  <a:cubicBezTo>
                    <a:pt x="1714500" y="411262"/>
                    <a:pt x="1721371" y="383059"/>
                    <a:pt x="1735113" y="363662"/>
                  </a:cubicBezTo>
                  <a:cubicBezTo>
                    <a:pt x="1748855" y="344264"/>
                    <a:pt x="1768773" y="334566"/>
                    <a:pt x="1794867" y="334566"/>
                  </a:cubicBezTo>
                  <a:close/>
                  <a:moveTo>
                    <a:pt x="1451967" y="334566"/>
                  </a:moveTo>
                  <a:cubicBezTo>
                    <a:pt x="1501577" y="334566"/>
                    <a:pt x="1526382" y="370830"/>
                    <a:pt x="1526382" y="443359"/>
                  </a:cubicBezTo>
                  <a:cubicBezTo>
                    <a:pt x="1526382" y="479475"/>
                    <a:pt x="1519610" y="507157"/>
                    <a:pt x="1506067" y="526405"/>
                  </a:cubicBezTo>
                  <a:cubicBezTo>
                    <a:pt x="1492523" y="545654"/>
                    <a:pt x="1473101" y="555278"/>
                    <a:pt x="1447800" y="555278"/>
                  </a:cubicBezTo>
                  <a:cubicBezTo>
                    <a:pt x="1397000" y="555278"/>
                    <a:pt x="1371600" y="519609"/>
                    <a:pt x="1371600" y="448270"/>
                  </a:cubicBezTo>
                  <a:cubicBezTo>
                    <a:pt x="1371600" y="411262"/>
                    <a:pt x="1378471" y="383059"/>
                    <a:pt x="1392213" y="363662"/>
                  </a:cubicBezTo>
                  <a:cubicBezTo>
                    <a:pt x="1405955" y="344264"/>
                    <a:pt x="1425873" y="334566"/>
                    <a:pt x="1451967" y="334566"/>
                  </a:cubicBezTo>
                  <a:close/>
                  <a:moveTo>
                    <a:pt x="1109067" y="334566"/>
                  </a:moveTo>
                  <a:cubicBezTo>
                    <a:pt x="1158677" y="334566"/>
                    <a:pt x="1183482" y="370830"/>
                    <a:pt x="1183482" y="443359"/>
                  </a:cubicBezTo>
                  <a:cubicBezTo>
                    <a:pt x="1183482" y="479475"/>
                    <a:pt x="1176710" y="507157"/>
                    <a:pt x="1163167" y="526405"/>
                  </a:cubicBezTo>
                  <a:cubicBezTo>
                    <a:pt x="1149623" y="545654"/>
                    <a:pt x="1130201" y="555278"/>
                    <a:pt x="1104900" y="555278"/>
                  </a:cubicBezTo>
                  <a:cubicBezTo>
                    <a:pt x="1054100" y="555278"/>
                    <a:pt x="1028700" y="519609"/>
                    <a:pt x="1028700" y="448270"/>
                  </a:cubicBezTo>
                  <a:cubicBezTo>
                    <a:pt x="1028700" y="411262"/>
                    <a:pt x="1035571" y="383059"/>
                    <a:pt x="1049313" y="363662"/>
                  </a:cubicBezTo>
                  <a:cubicBezTo>
                    <a:pt x="1063055" y="344264"/>
                    <a:pt x="1082973" y="334566"/>
                    <a:pt x="1109067" y="334566"/>
                  </a:cubicBezTo>
                  <a:close/>
                  <a:moveTo>
                    <a:pt x="937618" y="334566"/>
                  </a:moveTo>
                  <a:cubicBezTo>
                    <a:pt x="987227" y="334566"/>
                    <a:pt x="1012032" y="370830"/>
                    <a:pt x="1012032" y="443359"/>
                  </a:cubicBezTo>
                  <a:cubicBezTo>
                    <a:pt x="1012032" y="479475"/>
                    <a:pt x="1005260" y="507157"/>
                    <a:pt x="991717" y="526405"/>
                  </a:cubicBezTo>
                  <a:cubicBezTo>
                    <a:pt x="978173" y="545654"/>
                    <a:pt x="958751" y="555278"/>
                    <a:pt x="933450" y="555278"/>
                  </a:cubicBezTo>
                  <a:cubicBezTo>
                    <a:pt x="882650" y="555278"/>
                    <a:pt x="857250" y="519609"/>
                    <a:pt x="857250" y="448270"/>
                  </a:cubicBezTo>
                  <a:cubicBezTo>
                    <a:pt x="857250" y="411262"/>
                    <a:pt x="864121" y="383059"/>
                    <a:pt x="877863" y="363662"/>
                  </a:cubicBezTo>
                  <a:cubicBezTo>
                    <a:pt x="891605" y="344264"/>
                    <a:pt x="911523" y="334566"/>
                    <a:pt x="937618" y="334566"/>
                  </a:cubicBezTo>
                  <a:close/>
                  <a:moveTo>
                    <a:pt x="766167" y="334566"/>
                  </a:moveTo>
                  <a:cubicBezTo>
                    <a:pt x="815777" y="334566"/>
                    <a:pt x="840582" y="370830"/>
                    <a:pt x="840582" y="443359"/>
                  </a:cubicBezTo>
                  <a:cubicBezTo>
                    <a:pt x="840582" y="479475"/>
                    <a:pt x="833810" y="507157"/>
                    <a:pt x="820267" y="526405"/>
                  </a:cubicBezTo>
                  <a:cubicBezTo>
                    <a:pt x="806723" y="545654"/>
                    <a:pt x="787301" y="555278"/>
                    <a:pt x="762000" y="555278"/>
                  </a:cubicBezTo>
                  <a:cubicBezTo>
                    <a:pt x="711200" y="555278"/>
                    <a:pt x="685800" y="519609"/>
                    <a:pt x="685800" y="448270"/>
                  </a:cubicBezTo>
                  <a:cubicBezTo>
                    <a:pt x="685800" y="411262"/>
                    <a:pt x="692671" y="383059"/>
                    <a:pt x="706413" y="363662"/>
                  </a:cubicBezTo>
                  <a:cubicBezTo>
                    <a:pt x="720155" y="344264"/>
                    <a:pt x="740073" y="334566"/>
                    <a:pt x="766167" y="334566"/>
                  </a:cubicBezTo>
                  <a:close/>
                  <a:moveTo>
                    <a:pt x="423268" y="334566"/>
                  </a:moveTo>
                  <a:cubicBezTo>
                    <a:pt x="472877" y="334566"/>
                    <a:pt x="497682" y="370830"/>
                    <a:pt x="497682" y="443359"/>
                  </a:cubicBezTo>
                  <a:cubicBezTo>
                    <a:pt x="497682" y="479475"/>
                    <a:pt x="490910" y="507157"/>
                    <a:pt x="477366" y="526405"/>
                  </a:cubicBezTo>
                  <a:cubicBezTo>
                    <a:pt x="463823" y="545654"/>
                    <a:pt x="444401" y="555278"/>
                    <a:pt x="419100" y="555278"/>
                  </a:cubicBezTo>
                  <a:cubicBezTo>
                    <a:pt x="368300" y="555278"/>
                    <a:pt x="342900" y="519609"/>
                    <a:pt x="342900" y="448270"/>
                  </a:cubicBezTo>
                  <a:cubicBezTo>
                    <a:pt x="342900" y="411262"/>
                    <a:pt x="349771" y="383059"/>
                    <a:pt x="363513" y="363662"/>
                  </a:cubicBezTo>
                  <a:cubicBezTo>
                    <a:pt x="377255" y="344264"/>
                    <a:pt x="397173" y="334566"/>
                    <a:pt x="423268" y="334566"/>
                  </a:cubicBezTo>
                  <a:close/>
                  <a:moveTo>
                    <a:pt x="1628180" y="333375"/>
                  </a:moveTo>
                  <a:lnTo>
                    <a:pt x="1656606" y="333375"/>
                  </a:lnTo>
                  <a:lnTo>
                    <a:pt x="1656606" y="551557"/>
                  </a:lnTo>
                  <a:lnTo>
                    <a:pt x="1609725" y="551557"/>
                  </a:lnTo>
                  <a:lnTo>
                    <a:pt x="1609725" y="386358"/>
                  </a:lnTo>
                  <a:cubicBezTo>
                    <a:pt x="1607146" y="388640"/>
                    <a:pt x="1604095" y="390798"/>
                    <a:pt x="1600572" y="392832"/>
                  </a:cubicBezTo>
                  <a:cubicBezTo>
                    <a:pt x="1597050" y="394866"/>
                    <a:pt x="1593305" y="396701"/>
                    <a:pt x="1589336" y="398339"/>
                  </a:cubicBezTo>
                  <a:cubicBezTo>
                    <a:pt x="1585367" y="399976"/>
                    <a:pt x="1581250" y="401365"/>
                    <a:pt x="1576983" y="402506"/>
                  </a:cubicBezTo>
                  <a:cubicBezTo>
                    <a:pt x="1572717" y="403647"/>
                    <a:pt x="1568500" y="404465"/>
                    <a:pt x="1564333" y="404961"/>
                  </a:cubicBezTo>
                  <a:lnTo>
                    <a:pt x="1564333" y="365373"/>
                  </a:lnTo>
                  <a:cubicBezTo>
                    <a:pt x="1576537" y="361801"/>
                    <a:pt x="1588046" y="357237"/>
                    <a:pt x="1598861" y="351681"/>
                  </a:cubicBezTo>
                  <a:cubicBezTo>
                    <a:pt x="1609676" y="346125"/>
                    <a:pt x="1619449" y="340023"/>
                    <a:pt x="1628180" y="333375"/>
                  </a:cubicBezTo>
                  <a:close/>
                  <a:moveTo>
                    <a:pt x="1285280" y="333375"/>
                  </a:moveTo>
                  <a:lnTo>
                    <a:pt x="1313706" y="333375"/>
                  </a:lnTo>
                  <a:lnTo>
                    <a:pt x="1313706" y="551557"/>
                  </a:lnTo>
                  <a:lnTo>
                    <a:pt x="1266825" y="551557"/>
                  </a:lnTo>
                  <a:lnTo>
                    <a:pt x="1266825" y="386358"/>
                  </a:lnTo>
                  <a:cubicBezTo>
                    <a:pt x="1264246" y="388640"/>
                    <a:pt x="1261195" y="390798"/>
                    <a:pt x="1257672" y="392832"/>
                  </a:cubicBezTo>
                  <a:cubicBezTo>
                    <a:pt x="1254150" y="394866"/>
                    <a:pt x="1250405" y="396701"/>
                    <a:pt x="1246436" y="398339"/>
                  </a:cubicBezTo>
                  <a:cubicBezTo>
                    <a:pt x="1242467" y="399976"/>
                    <a:pt x="1238350" y="401365"/>
                    <a:pt x="1234083" y="402506"/>
                  </a:cubicBezTo>
                  <a:cubicBezTo>
                    <a:pt x="1229817" y="403647"/>
                    <a:pt x="1225600" y="404465"/>
                    <a:pt x="1221433" y="404961"/>
                  </a:cubicBezTo>
                  <a:lnTo>
                    <a:pt x="1221433" y="365373"/>
                  </a:lnTo>
                  <a:cubicBezTo>
                    <a:pt x="1233637" y="361801"/>
                    <a:pt x="1245146" y="357237"/>
                    <a:pt x="1255961" y="351681"/>
                  </a:cubicBezTo>
                  <a:cubicBezTo>
                    <a:pt x="1266776" y="346125"/>
                    <a:pt x="1276549" y="340023"/>
                    <a:pt x="1285280" y="333375"/>
                  </a:cubicBezTo>
                  <a:close/>
                  <a:moveTo>
                    <a:pt x="599480" y="333375"/>
                  </a:moveTo>
                  <a:lnTo>
                    <a:pt x="627906" y="333375"/>
                  </a:lnTo>
                  <a:lnTo>
                    <a:pt x="627906" y="551557"/>
                  </a:lnTo>
                  <a:lnTo>
                    <a:pt x="581025" y="551557"/>
                  </a:lnTo>
                  <a:lnTo>
                    <a:pt x="581025" y="386358"/>
                  </a:lnTo>
                  <a:cubicBezTo>
                    <a:pt x="578446" y="388640"/>
                    <a:pt x="575395" y="390798"/>
                    <a:pt x="571872" y="392832"/>
                  </a:cubicBezTo>
                  <a:cubicBezTo>
                    <a:pt x="568350" y="394866"/>
                    <a:pt x="564605" y="396701"/>
                    <a:pt x="560636" y="398339"/>
                  </a:cubicBezTo>
                  <a:cubicBezTo>
                    <a:pt x="556667" y="399976"/>
                    <a:pt x="552550" y="401365"/>
                    <a:pt x="548283" y="402506"/>
                  </a:cubicBezTo>
                  <a:cubicBezTo>
                    <a:pt x="544017" y="403647"/>
                    <a:pt x="539800" y="404465"/>
                    <a:pt x="535633" y="404961"/>
                  </a:cubicBezTo>
                  <a:lnTo>
                    <a:pt x="535633" y="365373"/>
                  </a:lnTo>
                  <a:cubicBezTo>
                    <a:pt x="547837" y="361801"/>
                    <a:pt x="559346" y="357237"/>
                    <a:pt x="570161" y="351681"/>
                  </a:cubicBezTo>
                  <a:cubicBezTo>
                    <a:pt x="580976" y="346125"/>
                    <a:pt x="590749" y="340023"/>
                    <a:pt x="599480" y="333375"/>
                  </a:cubicBezTo>
                  <a:close/>
                  <a:moveTo>
                    <a:pt x="256580" y="333375"/>
                  </a:moveTo>
                  <a:lnTo>
                    <a:pt x="285006" y="333375"/>
                  </a:lnTo>
                  <a:lnTo>
                    <a:pt x="285006" y="551557"/>
                  </a:lnTo>
                  <a:lnTo>
                    <a:pt x="238125" y="551557"/>
                  </a:lnTo>
                  <a:lnTo>
                    <a:pt x="238125" y="386358"/>
                  </a:lnTo>
                  <a:cubicBezTo>
                    <a:pt x="235546" y="388640"/>
                    <a:pt x="232495" y="390798"/>
                    <a:pt x="228972" y="392832"/>
                  </a:cubicBezTo>
                  <a:cubicBezTo>
                    <a:pt x="225450" y="394866"/>
                    <a:pt x="221705" y="396701"/>
                    <a:pt x="217736" y="398339"/>
                  </a:cubicBezTo>
                  <a:cubicBezTo>
                    <a:pt x="213767" y="399976"/>
                    <a:pt x="209650" y="401365"/>
                    <a:pt x="205383" y="402506"/>
                  </a:cubicBezTo>
                  <a:cubicBezTo>
                    <a:pt x="201117" y="403647"/>
                    <a:pt x="196900" y="404465"/>
                    <a:pt x="192733" y="404961"/>
                  </a:cubicBezTo>
                  <a:lnTo>
                    <a:pt x="192733" y="370882"/>
                  </a:lnTo>
                  <a:lnTo>
                    <a:pt x="198436" y="363255"/>
                  </a:lnTo>
                  <a:lnTo>
                    <a:pt x="198640" y="363031"/>
                  </a:lnTo>
                  <a:lnTo>
                    <a:pt x="227261" y="351681"/>
                  </a:lnTo>
                  <a:cubicBezTo>
                    <a:pt x="238076" y="346125"/>
                    <a:pt x="247849" y="340023"/>
                    <a:pt x="256580" y="333375"/>
                  </a:cubicBezTo>
                  <a:close/>
                  <a:moveTo>
                    <a:pt x="1609725" y="133178"/>
                  </a:moveTo>
                  <a:lnTo>
                    <a:pt x="1643297" y="153573"/>
                  </a:lnTo>
                  <a:lnTo>
                    <a:pt x="1656606" y="163525"/>
                  </a:lnTo>
                  <a:lnTo>
                    <a:pt x="1656606" y="218182"/>
                  </a:lnTo>
                  <a:lnTo>
                    <a:pt x="1609725" y="218182"/>
                  </a:lnTo>
                  <a:close/>
                  <a:moveTo>
                    <a:pt x="497456" y="112106"/>
                  </a:moveTo>
                  <a:lnTo>
                    <a:pt x="492603" y="157832"/>
                  </a:lnTo>
                  <a:cubicBezTo>
                    <a:pt x="489217" y="171673"/>
                    <a:pt x="484138" y="183406"/>
                    <a:pt x="477367" y="193030"/>
                  </a:cubicBezTo>
                  <a:cubicBezTo>
                    <a:pt x="463823" y="212279"/>
                    <a:pt x="444401" y="221903"/>
                    <a:pt x="419100" y="221903"/>
                  </a:cubicBezTo>
                  <a:cubicBezTo>
                    <a:pt x="406400" y="221903"/>
                    <a:pt x="395288" y="219674"/>
                    <a:pt x="385763" y="215215"/>
                  </a:cubicBezTo>
                  <a:lnTo>
                    <a:pt x="367427" y="199765"/>
                  </a:lnTo>
                  <a:lnTo>
                    <a:pt x="402228" y="173741"/>
                  </a:lnTo>
                  <a:lnTo>
                    <a:pt x="407501" y="181375"/>
                  </a:lnTo>
                  <a:cubicBezTo>
                    <a:pt x="411240" y="184383"/>
                    <a:pt x="415603" y="185886"/>
                    <a:pt x="420589" y="185886"/>
                  </a:cubicBezTo>
                  <a:cubicBezTo>
                    <a:pt x="435174" y="185886"/>
                    <a:pt x="444289" y="171934"/>
                    <a:pt x="447936" y="144028"/>
                  </a:cubicBezTo>
                  <a:lnTo>
                    <a:pt x="448042" y="142125"/>
                  </a:lnTo>
                  <a:close/>
                  <a:moveTo>
                    <a:pt x="627906" y="48242"/>
                  </a:moveTo>
                  <a:lnTo>
                    <a:pt x="627906" y="218182"/>
                  </a:lnTo>
                  <a:lnTo>
                    <a:pt x="581025" y="218182"/>
                  </a:lnTo>
                  <a:lnTo>
                    <a:pt x="581025" y="69174"/>
                  </a:lnTo>
                  <a:lnTo>
                    <a:pt x="613628" y="53468"/>
                  </a:lnTo>
                  <a:close/>
                  <a:moveTo>
                    <a:pt x="1106984" y="37058"/>
                  </a:moveTo>
                  <a:cubicBezTo>
                    <a:pt x="1086644" y="37058"/>
                    <a:pt x="1076474" y="62607"/>
                    <a:pt x="1076474" y="113705"/>
                  </a:cubicBezTo>
                  <a:cubicBezTo>
                    <a:pt x="1076474" y="161826"/>
                    <a:pt x="1086446" y="185886"/>
                    <a:pt x="1106389" y="185886"/>
                  </a:cubicBezTo>
                  <a:cubicBezTo>
                    <a:pt x="1125836" y="185886"/>
                    <a:pt x="1135559" y="161082"/>
                    <a:pt x="1135559" y="111472"/>
                  </a:cubicBezTo>
                  <a:cubicBezTo>
                    <a:pt x="1135559" y="61863"/>
                    <a:pt x="1126034" y="37058"/>
                    <a:pt x="1106984" y="37058"/>
                  </a:cubicBezTo>
                  <a:close/>
                  <a:moveTo>
                    <a:pt x="764084" y="37058"/>
                  </a:moveTo>
                  <a:cubicBezTo>
                    <a:pt x="743744" y="37058"/>
                    <a:pt x="733574" y="62607"/>
                    <a:pt x="733574" y="113705"/>
                  </a:cubicBezTo>
                  <a:cubicBezTo>
                    <a:pt x="733574" y="161826"/>
                    <a:pt x="743546" y="185886"/>
                    <a:pt x="763489" y="185886"/>
                  </a:cubicBezTo>
                  <a:cubicBezTo>
                    <a:pt x="782936" y="185886"/>
                    <a:pt x="792659" y="161082"/>
                    <a:pt x="792659" y="111472"/>
                  </a:cubicBezTo>
                  <a:cubicBezTo>
                    <a:pt x="792659" y="61863"/>
                    <a:pt x="783134" y="37058"/>
                    <a:pt x="764084" y="37058"/>
                  </a:cubicBezTo>
                  <a:close/>
                  <a:moveTo>
                    <a:pt x="1393200" y="29433"/>
                  </a:moveTo>
                  <a:lnTo>
                    <a:pt x="1434696" y="44621"/>
                  </a:lnTo>
                  <a:lnTo>
                    <a:pt x="1427002" y="56220"/>
                  </a:lnTo>
                  <a:cubicBezTo>
                    <a:pt x="1421917" y="68994"/>
                    <a:pt x="1419374" y="88156"/>
                    <a:pt x="1419374" y="113705"/>
                  </a:cubicBezTo>
                  <a:cubicBezTo>
                    <a:pt x="1419374" y="161826"/>
                    <a:pt x="1429346" y="185886"/>
                    <a:pt x="1449289" y="185886"/>
                  </a:cubicBezTo>
                  <a:cubicBezTo>
                    <a:pt x="1468736" y="185886"/>
                    <a:pt x="1478459" y="161082"/>
                    <a:pt x="1478459" y="111472"/>
                  </a:cubicBezTo>
                  <a:cubicBezTo>
                    <a:pt x="1478459" y="99070"/>
                    <a:pt x="1477864" y="88218"/>
                    <a:pt x="1476673" y="78916"/>
                  </a:cubicBezTo>
                  <a:lnTo>
                    <a:pt x="1472301" y="59939"/>
                  </a:lnTo>
                  <a:lnTo>
                    <a:pt x="1523921" y="84806"/>
                  </a:lnTo>
                  <a:lnTo>
                    <a:pt x="1526382" y="109984"/>
                  </a:lnTo>
                  <a:cubicBezTo>
                    <a:pt x="1526382" y="146100"/>
                    <a:pt x="1519610" y="173782"/>
                    <a:pt x="1506067" y="193030"/>
                  </a:cubicBezTo>
                  <a:cubicBezTo>
                    <a:pt x="1492523" y="212279"/>
                    <a:pt x="1473101" y="221903"/>
                    <a:pt x="1447800" y="221903"/>
                  </a:cubicBezTo>
                  <a:cubicBezTo>
                    <a:pt x="1397000" y="221903"/>
                    <a:pt x="1371600" y="186234"/>
                    <a:pt x="1371600" y="114895"/>
                  </a:cubicBezTo>
                  <a:cubicBezTo>
                    <a:pt x="1371600" y="77887"/>
                    <a:pt x="1378471" y="49684"/>
                    <a:pt x="1392213" y="30287"/>
                  </a:cubicBezTo>
                  <a:close/>
                  <a:moveTo>
                    <a:pt x="770877" y="2174"/>
                  </a:moveTo>
                  <a:lnTo>
                    <a:pt x="798724" y="7990"/>
                  </a:lnTo>
                  <a:cubicBezTo>
                    <a:pt x="826629" y="21589"/>
                    <a:pt x="840582" y="55587"/>
                    <a:pt x="840582" y="109984"/>
                  </a:cubicBezTo>
                  <a:cubicBezTo>
                    <a:pt x="840582" y="146100"/>
                    <a:pt x="833810" y="173782"/>
                    <a:pt x="820267" y="193030"/>
                  </a:cubicBezTo>
                  <a:cubicBezTo>
                    <a:pt x="806723" y="212279"/>
                    <a:pt x="787301" y="221903"/>
                    <a:pt x="762000" y="221903"/>
                  </a:cubicBezTo>
                  <a:cubicBezTo>
                    <a:pt x="711200" y="221903"/>
                    <a:pt x="685800" y="186234"/>
                    <a:pt x="685800" y="114895"/>
                  </a:cubicBezTo>
                  <a:cubicBezTo>
                    <a:pt x="685800" y="77887"/>
                    <a:pt x="692671" y="49684"/>
                    <a:pt x="706413" y="30287"/>
                  </a:cubicBezTo>
                  <a:lnTo>
                    <a:pt x="725410" y="13865"/>
                  </a:lnTo>
                  <a:close/>
                  <a:moveTo>
                    <a:pt x="1109067" y="1191"/>
                  </a:moveTo>
                  <a:cubicBezTo>
                    <a:pt x="1158677" y="1191"/>
                    <a:pt x="1183482" y="37455"/>
                    <a:pt x="1183482" y="109984"/>
                  </a:cubicBezTo>
                  <a:cubicBezTo>
                    <a:pt x="1183482" y="146100"/>
                    <a:pt x="1176710" y="173782"/>
                    <a:pt x="1163167" y="193030"/>
                  </a:cubicBezTo>
                  <a:cubicBezTo>
                    <a:pt x="1149623" y="212279"/>
                    <a:pt x="1130201" y="221903"/>
                    <a:pt x="1104900" y="221903"/>
                  </a:cubicBezTo>
                  <a:cubicBezTo>
                    <a:pt x="1054100" y="221903"/>
                    <a:pt x="1028700" y="186234"/>
                    <a:pt x="1028700" y="114895"/>
                  </a:cubicBezTo>
                  <a:cubicBezTo>
                    <a:pt x="1028700" y="77887"/>
                    <a:pt x="1035571" y="49684"/>
                    <a:pt x="1049313" y="30287"/>
                  </a:cubicBezTo>
                  <a:cubicBezTo>
                    <a:pt x="1063055" y="10889"/>
                    <a:pt x="1082973" y="1191"/>
                    <a:pt x="1109067" y="1191"/>
                  </a:cubicBezTo>
                  <a:close/>
                  <a:moveTo>
                    <a:pt x="1285280" y="0"/>
                  </a:moveTo>
                  <a:lnTo>
                    <a:pt x="1293163" y="0"/>
                  </a:lnTo>
                  <a:lnTo>
                    <a:pt x="1313706" y="5282"/>
                  </a:lnTo>
                  <a:lnTo>
                    <a:pt x="1313706" y="218182"/>
                  </a:lnTo>
                  <a:lnTo>
                    <a:pt x="1266825" y="218182"/>
                  </a:lnTo>
                  <a:lnTo>
                    <a:pt x="1266825" y="52983"/>
                  </a:lnTo>
                  <a:cubicBezTo>
                    <a:pt x="1264246" y="55265"/>
                    <a:pt x="1261195" y="57423"/>
                    <a:pt x="1257672" y="59457"/>
                  </a:cubicBezTo>
                  <a:cubicBezTo>
                    <a:pt x="1254150" y="61491"/>
                    <a:pt x="1250405" y="63326"/>
                    <a:pt x="1246436" y="64964"/>
                  </a:cubicBezTo>
                  <a:cubicBezTo>
                    <a:pt x="1242467" y="66601"/>
                    <a:pt x="1238350" y="67990"/>
                    <a:pt x="1234083" y="69131"/>
                  </a:cubicBezTo>
                  <a:cubicBezTo>
                    <a:pt x="1229817" y="70272"/>
                    <a:pt x="1225600" y="71090"/>
                    <a:pt x="1221433" y="71586"/>
                  </a:cubicBezTo>
                  <a:lnTo>
                    <a:pt x="1221433" y="31998"/>
                  </a:lnTo>
                  <a:cubicBezTo>
                    <a:pt x="1233637" y="28426"/>
                    <a:pt x="1245146" y="23862"/>
                    <a:pt x="1255961" y="18306"/>
                  </a:cubicBezTo>
                  <a:cubicBezTo>
                    <a:pt x="1266776" y="12750"/>
                    <a:pt x="1276549" y="6648"/>
                    <a:pt x="1285280" y="0"/>
                  </a:cubicBezTo>
                  <a:close/>
                  <a:moveTo>
                    <a:pt x="942380" y="0"/>
                  </a:moveTo>
                  <a:lnTo>
                    <a:pt x="970806" y="0"/>
                  </a:lnTo>
                  <a:lnTo>
                    <a:pt x="970806" y="218182"/>
                  </a:lnTo>
                  <a:lnTo>
                    <a:pt x="923925" y="218182"/>
                  </a:lnTo>
                  <a:lnTo>
                    <a:pt x="923925" y="52983"/>
                  </a:lnTo>
                  <a:cubicBezTo>
                    <a:pt x="921346" y="55265"/>
                    <a:pt x="918295" y="57423"/>
                    <a:pt x="914772" y="59457"/>
                  </a:cubicBezTo>
                  <a:cubicBezTo>
                    <a:pt x="911250" y="61491"/>
                    <a:pt x="907505" y="63326"/>
                    <a:pt x="903536" y="64964"/>
                  </a:cubicBezTo>
                  <a:cubicBezTo>
                    <a:pt x="899567" y="66601"/>
                    <a:pt x="895450" y="67990"/>
                    <a:pt x="891183" y="69131"/>
                  </a:cubicBezTo>
                  <a:cubicBezTo>
                    <a:pt x="886917" y="70272"/>
                    <a:pt x="882700" y="71090"/>
                    <a:pt x="878533" y="71586"/>
                  </a:cubicBezTo>
                  <a:lnTo>
                    <a:pt x="878533" y="31998"/>
                  </a:lnTo>
                  <a:cubicBezTo>
                    <a:pt x="890737" y="28426"/>
                    <a:pt x="902246" y="23862"/>
                    <a:pt x="913061" y="18306"/>
                  </a:cubicBezTo>
                  <a:cubicBezTo>
                    <a:pt x="923876" y="12750"/>
                    <a:pt x="933649" y="6648"/>
                    <a:pt x="942380" y="0"/>
                  </a:cubicBezTo>
                  <a:close/>
                </a:path>
              </a:pathLst>
            </a:custGeom>
            <a:solidFill>
              <a:srgbClr val="EBEBEB">
                <a:alpha val="31000"/>
              </a:srgbClr>
            </a:solidFill>
            <a:ln w="9525" cap="flat" cmpd="sng" algn="ctr">
              <a:noFill/>
              <a:prstDash val="solid"/>
              <a:headEnd type="none" w="med" len="med"/>
              <a:tailEnd type="none" w="med" len="med"/>
            </a:ln>
            <a:effectLst/>
            <a:sp3d>
              <a:bevelB/>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4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Freeform: Shape 202">
              <a:extLst>
                <a:ext uri="{FF2B5EF4-FFF2-40B4-BE49-F238E27FC236}">
                  <a16:creationId xmlns:a16="http://schemas.microsoft.com/office/drawing/2014/main" id="{75A42485-1C4B-42C8-9B8E-91CF9D3615D5}"/>
                </a:ext>
              </a:extLst>
            </p:cNvPr>
            <p:cNvSpPr/>
            <p:nvPr/>
          </p:nvSpPr>
          <p:spPr bwMode="auto">
            <a:xfrm>
              <a:off x="5938757" y="3543576"/>
              <a:ext cx="348326" cy="126880"/>
            </a:xfrm>
            <a:custGeom>
              <a:avLst/>
              <a:gdLst/>
              <a:ahLst/>
              <a:cxnLst/>
              <a:rect l="l" t="t" r="r" b="b"/>
              <a:pathLst>
                <a:path w="893564" h="325487">
                  <a:moveTo>
                    <a:pt x="843558" y="207839"/>
                  </a:moveTo>
                  <a:lnTo>
                    <a:pt x="795561" y="214536"/>
                  </a:lnTo>
                  <a:cubicBezTo>
                    <a:pt x="780678" y="216471"/>
                    <a:pt x="769479" y="220080"/>
                    <a:pt x="761963" y="225363"/>
                  </a:cubicBezTo>
                  <a:cubicBezTo>
                    <a:pt x="754447" y="230647"/>
                    <a:pt x="750689" y="239911"/>
                    <a:pt x="750689" y="253157"/>
                  </a:cubicBezTo>
                  <a:cubicBezTo>
                    <a:pt x="750689" y="262831"/>
                    <a:pt x="754149" y="270756"/>
                    <a:pt x="761070" y="276932"/>
                  </a:cubicBezTo>
                  <a:cubicBezTo>
                    <a:pt x="767990" y="283109"/>
                    <a:pt x="777255" y="286197"/>
                    <a:pt x="788864" y="286197"/>
                  </a:cubicBezTo>
                  <a:cubicBezTo>
                    <a:pt x="804639" y="286197"/>
                    <a:pt x="817699" y="280653"/>
                    <a:pt x="828043" y="269565"/>
                  </a:cubicBezTo>
                  <a:cubicBezTo>
                    <a:pt x="838386" y="258478"/>
                    <a:pt x="843558" y="244525"/>
                    <a:pt x="843558" y="227707"/>
                  </a:cubicBezTo>
                  <a:close/>
                  <a:moveTo>
                    <a:pt x="443508" y="207839"/>
                  </a:moveTo>
                  <a:lnTo>
                    <a:pt x="395511" y="214536"/>
                  </a:lnTo>
                  <a:cubicBezTo>
                    <a:pt x="380628" y="216471"/>
                    <a:pt x="369429" y="220080"/>
                    <a:pt x="361913" y="225363"/>
                  </a:cubicBezTo>
                  <a:cubicBezTo>
                    <a:pt x="354397" y="230647"/>
                    <a:pt x="350639" y="239911"/>
                    <a:pt x="350639" y="253157"/>
                  </a:cubicBezTo>
                  <a:cubicBezTo>
                    <a:pt x="350639" y="262831"/>
                    <a:pt x="354099" y="270756"/>
                    <a:pt x="361020" y="276932"/>
                  </a:cubicBezTo>
                  <a:cubicBezTo>
                    <a:pt x="367940" y="283109"/>
                    <a:pt x="377205" y="286197"/>
                    <a:pt x="388814" y="286197"/>
                  </a:cubicBezTo>
                  <a:cubicBezTo>
                    <a:pt x="404589" y="286197"/>
                    <a:pt x="417649" y="280653"/>
                    <a:pt x="427992" y="269565"/>
                  </a:cubicBezTo>
                  <a:cubicBezTo>
                    <a:pt x="438336" y="258478"/>
                    <a:pt x="443508" y="244525"/>
                    <a:pt x="443508" y="227707"/>
                  </a:cubicBezTo>
                  <a:close/>
                  <a:moveTo>
                    <a:pt x="806946" y="86172"/>
                  </a:moveTo>
                  <a:cubicBezTo>
                    <a:pt x="864691" y="86172"/>
                    <a:pt x="893564" y="114598"/>
                    <a:pt x="893564" y="171450"/>
                  </a:cubicBezTo>
                  <a:lnTo>
                    <a:pt x="893564" y="320130"/>
                  </a:lnTo>
                  <a:lnTo>
                    <a:pt x="843335" y="320130"/>
                  </a:lnTo>
                  <a:lnTo>
                    <a:pt x="843335" y="284411"/>
                  </a:lnTo>
                  <a:lnTo>
                    <a:pt x="842442" y="284411"/>
                  </a:lnTo>
                  <a:cubicBezTo>
                    <a:pt x="826666" y="311795"/>
                    <a:pt x="803523" y="325487"/>
                    <a:pt x="773013" y="325487"/>
                  </a:cubicBezTo>
                  <a:cubicBezTo>
                    <a:pt x="750540" y="325487"/>
                    <a:pt x="732941" y="319385"/>
                    <a:pt x="720217" y="307182"/>
                  </a:cubicBezTo>
                  <a:cubicBezTo>
                    <a:pt x="707492" y="294978"/>
                    <a:pt x="701129" y="278830"/>
                    <a:pt x="701129" y="258738"/>
                  </a:cubicBezTo>
                  <a:cubicBezTo>
                    <a:pt x="701129" y="215578"/>
                    <a:pt x="725984" y="190426"/>
                    <a:pt x="775692" y="183282"/>
                  </a:cubicBezTo>
                  <a:lnTo>
                    <a:pt x="843558" y="173683"/>
                  </a:lnTo>
                  <a:cubicBezTo>
                    <a:pt x="843558" y="141089"/>
                    <a:pt x="828080" y="124793"/>
                    <a:pt x="797124" y="124793"/>
                  </a:cubicBezTo>
                  <a:cubicBezTo>
                    <a:pt x="769888" y="124793"/>
                    <a:pt x="745331" y="134169"/>
                    <a:pt x="723454" y="152921"/>
                  </a:cubicBezTo>
                  <a:lnTo>
                    <a:pt x="723454" y="107603"/>
                  </a:lnTo>
                  <a:cubicBezTo>
                    <a:pt x="747564" y="93316"/>
                    <a:pt x="775395" y="86172"/>
                    <a:pt x="806946" y="86172"/>
                  </a:cubicBezTo>
                  <a:close/>
                  <a:moveTo>
                    <a:pt x="406896" y="86172"/>
                  </a:moveTo>
                  <a:cubicBezTo>
                    <a:pt x="464641" y="86172"/>
                    <a:pt x="493514" y="114598"/>
                    <a:pt x="493514" y="171450"/>
                  </a:cubicBezTo>
                  <a:lnTo>
                    <a:pt x="493514" y="320130"/>
                  </a:lnTo>
                  <a:lnTo>
                    <a:pt x="443285" y="320130"/>
                  </a:lnTo>
                  <a:lnTo>
                    <a:pt x="443285" y="284411"/>
                  </a:lnTo>
                  <a:lnTo>
                    <a:pt x="442392" y="284411"/>
                  </a:lnTo>
                  <a:cubicBezTo>
                    <a:pt x="426616" y="311795"/>
                    <a:pt x="403473" y="325487"/>
                    <a:pt x="372963" y="325487"/>
                  </a:cubicBezTo>
                  <a:cubicBezTo>
                    <a:pt x="350490" y="325487"/>
                    <a:pt x="332891" y="319385"/>
                    <a:pt x="320167" y="307182"/>
                  </a:cubicBezTo>
                  <a:cubicBezTo>
                    <a:pt x="307442" y="294978"/>
                    <a:pt x="301079" y="278830"/>
                    <a:pt x="301079" y="258738"/>
                  </a:cubicBezTo>
                  <a:cubicBezTo>
                    <a:pt x="301079" y="215578"/>
                    <a:pt x="325934" y="190426"/>
                    <a:pt x="375642" y="183282"/>
                  </a:cubicBezTo>
                  <a:lnTo>
                    <a:pt x="443508" y="173683"/>
                  </a:lnTo>
                  <a:cubicBezTo>
                    <a:pt x="443508" y="141089"/>
                    <a:pt x="428030" y="124793"/>
                    <a:pt x="397074" y="124793"/>
                  </a:cubicBezTo>
                  <a:cubicBezTo>
                    <a:pt x="369838" y="124793"/>
                    <a:pt x="345281" y="134169"/>
                    <a:pt x="323404" y="152921"/>
                  </a:cubicBezTo>
                  <a:lnTo>
                    <a:pt x="323404" y="107603"/>
                  </a:lnTo>
                  <a:cubicBezTo>
                    <a:pt x="347514" y="93316"/>
                    <a:pt x="375345" y="86172"/>
                    <a:pt x="406896" y="86172"/>
                  </a:cubicBezTo>
                  <a:close/>
                  <a:moveTo>
                    <a:pt x="52908" y="45095"/>
                  </a:moveTo>
                  <a:lnTo>
                    <a:pt x="52908" y="275258"/>
                  </a:lnTo>
                  <a:lnTo>
                    <a:pt x="95325" y="275258"/>
                  </a:lnTo>
                  <a:cubicBezTo>
                    <a:pt x="132680" y="275258"/>
                    <a:pt x="161739" y="264989"/>
                    <a:pt x="182501" y="244451"/>
                  </a:cubicBezTo>
                  <a:cubicBezTo>
                    <a:pt x="203262" y="223912"/>
                    <a:pt x="213643" y="194891"/>
                    <a:pt x="213643" y="157386"/>
                  </a:cubicBezTo>
                  <a:cubicBezTo>
                    <a:pt x="213643" y="82526"/>
                    <a:pt x="174873" y="45095"/>
                    <a:pt x="97334" y="45095"/>
                  </a:cubicBezTo>
                  <a:close/>
                  <a:moveTo>
                    <a:pt x="622027" y="23887"/>
                  </a:moveTo>
                  <a:lnTo>
                    <a:pt x="622027" y="91530"/>
                  </a:lnTo>
                  <a:lnTo>
                    <a:pt x="676722" y="91530"/>
                  </a:lnTo>
                  <a:lnTo>
                    <a:pt x="676722" y="132160"/>
                  </a:lnTo>
                  <a:lnTo>
                    <a:pt x="622027" y="132160"/>
                  </a:lnTo>
                  <a:lnTo>
                    <a:pt x="622027" y="246460"/>
                  </a:lnTo>
                  <a:cubicBezTo>
                    <a:pt x="622027" y="260003"/>
                    <a:pt x="624483" y="269677"/>
                    <a:pt x="629394" y="275481"/>
                  </a:cubicBezTo>
                  <a:cubicBezTo>
                    <a:pt x="634306" y="281285"/>
                    <a:pt x="642491" y="284188"/>
                    <a:pt x="653951" y="284188"/>
                  </a:cubicBezTo>
                  <a:cubicBezTo>
                    <a:pt x="662732" y="284188"/>
                    <a:pt x="670322" y="281658"/>
                    <a:pt x="676722" y="276597"/>
                  </a:cubicBezTo>
                  <a:lnTo>
                    <a:pt x="676722" y="317674"/>
                  </a:lnTo>
                  <a:cubicBezTo>
                    <a:pt x="666601" y="322734"/>
                    <a:pt x="653281" y="325264"/>
                    <a:pt x="636761" y="325264"/>
                  </a:cubicBezTo>
                  <a:cubicBezTo>
                    <a:pt x="592410" y="325264"/>
                    <a:pt x="570235" y="303982"/>
                    <a:pt x="570235" y="261417"/>
                  </a:cubicBezTo>
                  <a:lnTo>
                    <a:pt x="570235" y="132160"/>
                  </a:lnTo>
                  <a:lnTo>
                    <a:pt x="532061" y="132160"/>
                  </a:lnTo>
                  <a:lnTo>
                    <a:pt x="532061" y="91530"/>
                  </a:lnTo>
                  <a:lnTo>
                    <a:pt x="570235" y="91530"/>
                  </a:lnTo>
                  <a:lnTo>
                    <a:pt x="570235" y="38621"/>
                  </a:lnTo>
                  <a:close/>
                  <a:moveTo>
                    <a:pt x="0" y="0"/>
                  </a:moveTo>
                  <a:lnTo>
                    <a:pt x="92422" y="0"/>
                  </a:lnTo>
                  <a:cubicBezTo>
                    <a:pt x="210443" y="0"/>
                    <a:pt x="269453" y="52016"/>
                    <a:pt x="269453" y="156047"/>
                  </a:cubicBezTo>
                  <a:cubicBezTo>
                    <a:pt x="269453" y="205458"/>
                    <a:pt x="253082" y="245157"/>
                    <a:pt x="220340" y="275146"/>
                  </a:cubicBezTo>
                  <a:cubicBezTo>
                    <a:pt x="187598" y="305135"/>
                    <a:pt x="143694" y="320130"/>
                    <a:pt x="88627" y="320130"/>
                  </a:cubicBezTo>
                  <a:lnTo>
                    <a:pt x="0" y="320130"/>
                  </a:lnTo>
                  <a:close/>
                </a:path>
              </a:pathLst>
            </a:custGeom>
            <a:solidFill>
              <a:schemeClr val="bg1"/>
            </a:solidFill>
            <a:ln>
              <a:noFill/>
              <a:headEnd type="none" w="med" len="med"/>
              <a:tailEnd type="none" w="med" len="med"/>
            </a:ln>
            <a:sp3d>
              <a:bevelB/>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59112A09-244B-4A53-A99B-2CD652134C08}"/>
              </a:ext>
            </a:extLst>
          </p:cNvPr>
          <p:cNvGrpSpPr/>
          <p:nvPr/>
        </p:nvGrpSpPr>
        <p:grpSpPr>
          <a:xfrm>
            <a:off x="7280112" y="3877921"/>
            <a:ext cx="2357852" cy="733565"/>
            <a:chOff x="7280112" y="3877921"/>
            <a:chExt cx="2357852" cy="733565"/>
          </a:xfrm>
        </p:grpSpPr>
        <p:grpSp>
          <p:nvGrpSpPr>
            <p:cNvPr id="129" name="Group 128">
              <a:extLst>
                <a:ext uri="{FF2B5EF4-FFF2-40B4-BE49-F238E27FC236}">
                  <a16:creationId xmlns:a16="http://schemas.microsoft.com/office/drawing/2014/main" id="{01956336-A12E-4A18-AC81-81B8C5569F65}"/>
                </a:ext>
              </a:extLst>
            </p:cNvPr>
            <p:cNvGrpSpPr/>
            <p:nvPr/>
          </p:nvGrpSpPr>
          <p:grpSpPr>
            <a:xfrm>
              <a:off x="7280112" y="3877921"/>
              <a:ext cx="718022" cy="692485"/>
              <a:chOff x="4726930" y="4471473"/>
              <a:chExt cx="703088" cy="703088"/>
            </a:xfrm>
            <a:effectLst>
              <a:outerShdw blurRad="177800" dist="177800" dir="5400000" algn="t" rotWithShape="0">
                <a:prstClr val="black">
                  <a:alpha val="10000"/>
                </a:prstClr>
              </a:outerShdw>
            </a:effectLst>
          </p:grpSpPr>
          <p:sp>
            <p:nvSpPr>
              <p:cNvPr id="130" name="Oval 129">
                <a:extLst>
                  <a:ext uri="{FF2B5EF4-FFF2-40B4-BE49-F238E27FC236}">
                    <a16:creationId xmlns:a16="http://schemas.microsoft.com/office/drawing/2014/main" id="{AF7E1131-AB3D-4D4E-9387-7CE0281C6218}"/>
                  </a:ext>
                </a:extLst>
              </p:cNvPr>
              <p:cNvSpPr/>
              <p:nvPr/>
            </p:nvSpPr>
            <p:spPr bwMode="auto">
              <a:xfrm>
                <a:off x="4726930" y="4471473"/>
                <a:ext cx="703088" cy="703088"/>
              </a:xfrm>
              <a:prstGeom prst="ellipse">
                <a:avLst/>
              </a:prstGeom>
              <a:solidFill>
                <a:srgbClr val="287EFF"/>
              </a:solidFill>
              <a:ln w="9525" cap="flat" cmpd="sng" algn="ctr">
                <a:noFill/>
                <a:prstDash val="solid"/>
              </a:ln>
              <a:effectLst>
                <a:outerShdw blurRad="63500" dist="38100" dir="2700000" algn="tl" rotWithShape="0">
                  <a:prstClr val="black">
                    <a:alpha val="20000"/>
                  </a:prstClr>
                </a:outerShdw>
              </a:effectLst>
            </p:spPr>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1A1A1A"/>
                  </a:solidFill>
                  <a:effectLst/>
                  <a:uLnTx/>
                  <a:uFillTx/>
                  <a:latin typeface="Segoe UI"/>
                  <a:ea typeface="+mn-ea"/>
                  <a:cs typeface="Segoe UI" pitchFamily="34" charset="0"/>
                </a:endParaRPr>
              </a:p>
            </p:txBody>
          </p:sp>
          <p:grpSp>
            <p:nvGrpSpPr>
              <p:cNvPr id="131" name="Group 130">
                <a:extLst>
                  <a:ext uri="{FF2B5EF4-FFF2-40B4-BE49-F238E27FC236}">
                    <a16:creationId xmlns:a16="http://schemas.microsoft.com/office/drawing/2014/main" id="{6CB94BE2-BE3F-4B8F-8EE7-4CBF291BF81A}"/>
                  </a:ext>
                </a:extLst>
              </p:cNvPr>
              <p:cNvGrpSpPr/>
              <p:nvPr/>
            </p:nvGrpSpPr>
            <p:grpSpPr>
              <a:xfrm>
                <a:off x="4902990" y="4689695"/>
                <a:ext cx="350968" cy="266644"/>
                <a:chOff x="-1146792" y="678443"/>
                <a:chExt cx="1017587" cy="773113"/>
              </a:xfrm>
              <a:solidFill>
                <a:srgbClr val="D2D2D2"/>
              </a:solidFill>
            </p:grpSpPr>
            <p:sp>
              <p:nvSpPr>
                <p:cNvPr id="132" name="Freeform 5">
                  <a:extLst>
                    <a:ext uri="{FF2B5EF4-FFF2-40B4-BE49-F238E27FC236}">
                      <a16:creationId xmlns:a16="http://schemas.microsoft.com/office/drawing/2014/main" id="{98CD8E01-51BD-4400-9B54-057D6D41DC44}"/>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6">
                  <a:extLst>
                    <a:ext uri="{FF2B5EF4-FFF2-40B4-BE49-F238E27FC236}">
                      <a16:creationId xmlns:a16="http://schemas.microsoft.com/office/drawing/2014/main" id="{DE446DCF-76AC-40AB-B769-85F20F3AA4C3}"/>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34" name="Group 133">
              <a:extLst>
                <a:ext uri="{FF2B5EF4-FFF2-40B4-BE49-F238E27FC236}">
                  <a16:creationId xmlns:a16="http://schemas.microsoft.com/office/drawing/2014/main" id="{EC39EF1D-6334-46EB-8C20-F4AFA0170224}"/>
                </a:ext>
              </a:extLst>
            </p:cNvPr>
            <p:cNvGrpSpPr>
              <a:grpSpLocks noChangeAspect="1"/>
            </p:cNvGrpSpPr>
            <p:nvPr/>
          </p:nvGrpSpPr>
          <p:grpSpPr>
            <a:xfrm>
              <a:off x="8100027" y="3893464"/>
              <a:ext cx="718022" cy="718022"/>
              <a:chOff x="5216175" y="2901971"/>
              <a:chExt cx="1715723" cy="1715723"/>
            </a:xfrm>
          </p:grpSpPr>
          <p:sp>
            <p:nvSpPr>
              <p:cNvPr id="135" name="Oval 134">
                <a:extLst>
                  <a:ext uri="{FF2B5EF4-FFF2-40B4-BE49-F238E27FC236}">
                    <a16:creationId xmlns:a16="http://schemas.microsoft.com/office/drawing/2014/main" id="{70194270-875B-40BC-86D3-5D72DD93B022}"/>
                  </a:ext>
                </a:extLst>
              </p:cNvPr>
              <p:cNvSpPr/>
              <p:nvPr/>
            </p:nvSpPr>
            <p:spPr bwMode="auto">
              <a:xfrm>
                <a:off x="5216175" y="2901971"/>
                <a:ext cx="1715723" cy="1715723"/>
              </a:xfrm>
              <a:prstGeom prst="ellipse">
                <a:avLst/>
              </a:prstGeom>
              <a:solidFill>
                <a:srgbClr val="742774"/>
              </a:solidFill>
              <a:ln w="9525" cap="flat" cmpd="sng" algn="ctr">
                <a:noFill/>
                <a:prstDash val="solid"/>
              </a:ln>
              <a:effectLst>
                <a:outerShdw blurRad="63500" dist="38100" dir="2700000" algn="tl" rotWithShape="0">
                  <a:prstClr val="black">
                    <a:alpha val="20000"/>
                  </a:prstClr>
                </a:outerShdw>
              </a:effectLst>
            </p:spPr>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36" name="Group 4">
                <a:extLst>
                  <a:ext uri="{FF2B5EF4-FFF2-40B4-BE49-F238E27FC236}">
                    <a16:creationId xmlns:a16="http://schemas.microsoft.com/office/drawing/2014/main" id="{85A5B4CD-C060-45A2-A37F-1A9242F1429C}"/>
                  </a:ext>
                </a:extLst>
              </p:cNvPr>
              <p:cNvGrpSpPr>
                <a:grpSpLocks noChangeAspect="1"/>
              </p:cNvGrpSpPr>
              <p:nvPr/>
            </p:nvGrpSpPr>
            <p:grpSpPr bwMode="auto">
              <a:xfrm>
                <a:off x="5681957" y="3458106"/>
                <a:ext cx="784088" cy="603380"/>
                <a:chOff x="2880" y="2176"/>
                <a:chExt cx="256" cy="197"/>
              </a:xfrm>
              <a:solidFill>
                <a:srgbClr val="D2D2D2"/>
              </a:solidFill>
            </p:grpSpPr>
            <p:sp>
              <p:nvSpPr>
                <p:cNvPr id="137" name="Freeform 5">
                  <a:extLst>
                    <a:ext uri="{FF2B5EF4-FFF2-40B4-BE49-F238E27FC236}">
                      <a16:creationId xmlns:a16="http://schemas.microsoft.com/office/drawing/2014/main" id="{E768F866-2918-40E5-B4F3-A7EFE7BA996C}"/>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8" name="Freeform 6">
                  <a:extLst>
                    <a:ext uri="{FF2B5EF4-FFF2-40B4-BE49-F238E27FC236}">
                      <a16:creationId xmlns:a16="http://schemas.microsoft.com/office/drawing/2014/main" id="{5DC5BC73-00E2-4BD9-936C-029C4A7FCB1C}"/>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39" name="Freeform 7">
                  <a:extLst>
                    <a:ext uri="{FF2B5EF4-FFF2-40B4-BE49-F238E27FC236}">
                      <a16:creationId xmlns:a16="http://schemas.microsoft.com/office/drawing/2014/main" id="{9B032F7A-44AF-4186-950D-C8FD469CA147}"/>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0" name="Freeform 8">
                  <a:extLst>
                    <a:ext uri="{FF2B5EF4-FFF2-40B4-BE49-F238E27FC236}">
                      <a16:creationId xmlns:a16="http://schemas.microsoft.com/office/drawing/2014/main" id="{88A96699-80F7-4274-8142-D4984D2528CB}"/>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9">
                  <a:extLst>
                    <a:ext uri="{FF2B5EF4-FFF2-40B4-BE49-F238E27FC236}">
                      <a16:creationId xmlns:a16="http://schemas.microsoft.com/office/drawing/2014/main" id="{49C24F0D-0D8F-4A3E-A231-578053B26A80}"/>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42" name="Group 141">
              <a:extLst>
                <a:ext uri="{FF2B5EF4-FFF2-40B4-BE49-F238E27FC236}">
                  <a16:creationId xmlns:a16="http://schemas.microsoft.com/office/drawing/2014/main" id="{545EA235-5A1E-4911-B2BB-59E4A7295239}"/>
                </a:ext>
              </a:extLst>
            </p:cNvPr>
            <p:cNvGrpSpPr/>
            <p:nvPr/>
          </p:nvGrpSpPr>
          <p:grpSpPr>
            <a:xfrm>
              <a:off x="8919942" y="3917112"/>
              <a:ext cx="718022" cy="692485"/>
              <a:chOff x="3011531" y="3227561"/>
              <a:chExt cx="1051560" cy="1051560"/>
            </a:xfrm>
          </p:grpSpPr>
          <p:sp>
            <p:nvSpPr>
              <p:cNvPr id="143" name="Oval 142">
                <a:extLst>
                  <a:ext uri="{FF2B5EF4-FFF2-40B4-BE49-F238E27FC236}">
                    <a16:creationId xmlns:a16="http://schemas.microsoft.com/office/drawing/2014/main" id="{CF0B13EE-7103-47E0-AA4F-5A695074A555}"/>
                  </a:ext>
                </a:extLst>
              </p:cNvPr>
              <p:cNvSpPr/>
              <p:nvPr/>
            </p:nvSpPr>
            <p:spPr bwMode="auto">
              <a:xfrm>
                <a:off x="3011531" y="3227561"/>
                <a:ext cx="1051560" cy="1051560"/>
              </a:xfrm>
              <a:prstGeom prst="ellipse">
                <a:avLst/>
              </a:prstGeom>
              <a:solidFill>
                <a:srgbClr val="FFC000"/>
              </a:solidFill>
              <a:ln w="9525" cap="flat" cmpd="sng" algn="ctr">
                <a:noFill/>
                <a:prstDash val="solid"/>
              </a:ln>
              <a:effectLst>
                <a:outerShdw blurRad="63500" dist="38100" dir="2700000" algn="tl" rotWithShape="0">
                  <a:prstClr val="black">
                    <a:alpha val="20000"/>
                  </a:prstClr>
                </a:outerShdw>
              </a:effectLst>
            </p:spPr>
            <p:txBody>
              <a:bodyPr rot="0" spcFirstLastPara="0" vert="horz" wrap="square" lIns="164549" tIns="131640" rIns="164549" bIns="131640" numCol="1" spcCol="0" rtlCol="0" fromWordArt="0" anchor="ctr" anchorCtr="0" forceAA="0" compatLnSpc="1">
                <a:prstTxWarp prst="textNoShape">
                  <a:avLst/>
                </a:prstTxWarp>
                <a:noAutofit/>
              </a:bodyPr>
              <a:lstStyle/>
              <a:p>
                <a:pPr marL="0" marR="0" lvl="0" indent="0" algn="l" defTabSz="83897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1A1A1A"/>
                  </a:solidFill>
                  <a:effectLst/>
                  <a:uLnTx/>
                  <a:uFillTx/>
                  <a:latin typeface="Segoe UI"/>
                  <a:ea typeface="+mn-ea"/>
                  <a:cs typeface="Segoe UI" pitchFamily="34" charset="0"/>
                </a:endParaRPr>
              </a:p>
            </p:txBody>
          </p:sp>
          <p:grpSp>
            <p:nvGrpSpPr>
              <p:cNvPr id="144" name="Group 12">
                <a:extLst>
                  <a:ext uri="{FF2B5EF4-FFF2-40B4-BE49-F238E27FC236}">
                    <a16:creationId xmlns:a16="http://schemas.microsoft.com/office/drawing/2014/main" id="{726C6828-8D1A-4B24-AA93-D691D20E5B6F}"/>
                  </a:ext>
                </a:extLst>
              </p:cNvPr>
              <p:cNvGrpSpPr>
                <a:grpSpLocks noChangeAspect="1"/>
              </p:cNvGrpSpPr>
              <p:nvPr/>
            </p:nvGrpSpPr>
            <p:grpSpPr bwMode="auto">
              <a:xfrm>
                <a:off x="3295150" y="3569374"/>
                <a:ext cx="484321" cy="367935"/>
                <a:chOff x="4543" y="2176"/>
                <a:chExt cx="258" cy="196"/>
              </a:xfrm>
              <a:solidFill>
                <a:srgbClr val="1A1A1A"/>
              </a:solidFill>
            </p:grpSpPr>
            <p:sp>
              <p:nvSpPr>
                <p:cNvPr id="145" name="Freeform 13">
                  <a:extLst>
                    <a:ext uri="{FF2B5EF4-FFF2-40B4-BE49-F238E27FC236}">
                      <a16:creationId xmlns:a16="http://schemas.microsoft.com/office/drawing/2014/main" id="{5A66FF86-1181-4C1B-9631-799553081EC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46" name="Freeform 14">
                  <a:extLst>
                    <a:ext uri="{FF2B5EF4-FFF2-40B4-BE49-F238E27FC236}">
                      <a16:creationId xmlns:a16="http://schemas.microsoft.com/office/drawing/2014/main" id="{ED4F2CB0-E2D0-4ECD-B0B3-EAD3D53424E3}"/>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47" name="Freeform 15">
                  <a:extLst>
                    <a:ext uri="{FF2B5EF4-FFF2-40B4-BE49-F238E27FC236}">
                      <a16:creationId xmlns:a16="http://schemas.microsoft.com/office/drawing/2014/main" id="{436FF4BC-B8F8-48A6-A519-933327FF95DE}"/>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49" name="Freeform 16">
                  <a:extLst>
                    <a:ext uri="{FF2B5EF4-FFF2-40B4-BE49-F238E27FC236}">
                      <a16:creationId xmlns:a16="http://schemas.microsoft.com/office/drawing/2014/main" id="{9303A87D-1844-40C8-B1D2-07582CD79DF1}"/>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52" name="Freeform 17">
                  <a:extLst>
                    <a:ext uri="{FF2B5EF4-FFF2-40B4-BE49-F238E27FC236}">
                      <a16:creationId xmlns:a16="http://schemas.microsoft.com/office/drawing/2014/main" id="{0622CAEB-9EBB-4702-AEDF-59B6DF7111AD}"/>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pic>
        <p:nvPicPr>
          <p:cNvPr id="153" name="Graphic 152">
            <a:extLst>
              <a:ext uri="{FF2B5EF4-FFF2-40B4-BE49-F238E27FC236}">
                <a16:creationId xmlns:a16="http://schemas.microsoft.com/office/drawing/2014/main" id="{8578F1FB-936B-4A17-B43F-C5922BC0E9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64633" y="5502278"/>
            <a:ext cx="434635" cy="434635"/>
          </a:xfrm>
          <a:prstGeom prst="rect">
            <a:avLst/>
          </a:prstGeom>
        </p:spPr>
      </p:pic>
    </p:spTree>
    <p:extLst>
      <p:ext uri="{BB962C8B-B14F-4D97-AF65-F5344CB8AC3E}">
        <p14:creationId xmlns:p14="http://schemas.microsoft.com/office/powerpoint/2010/main" val="14933591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3DD38-D6FC-4E46-9F9E-8821E6AE851F}"/>
              </a:ext>
            </a:extLst>
          </p:cNvPr>
          <p:cNvSpPr>
            <a:spLocks noGrp="1"/>
          </p:cNvSpPr>
          <p:nvPr>
            <p:ph type="title"/>
          </p:nvPr>
        </p:nvSpPr>
        <p:spPr/>
        <p:txBody>
          <a:bodyPr/>
          <a:lstStyle/>
          <a:p>
            <a:endParaRPr lang="en-GB"/>
          </a:p>
        </p:txBody>
      </p:sp>
      <p:pic>
        <p:nvPicPr>
          <p:cNvPr id="3074" name="Picture 2" descr="Image">
            <a:extLst>
              <a:ext uri="{FF2B5EF4-FFF2-40B4-BE49-F238E27FC236}">
                <a16:creationId xmlns:a16="http://schemas.microsoft.com/office/drawing/2014/main" id="{640738ED-F608-465C-B182-2631F2985E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4957714"/>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The clever reason why Microsoft first put Solitaire on Windows – BGR">
            <a:extLst>
              <a:ext uri="{FF2B5EF4-FFF2-40B4-BE49-F238E27FC236}">
                <a16:creationId xmlns:a16="http://schemas.microsoft.com/office/drawing/2014/main" id="{43D978F0-10EA-4703-B6C4-43AC8488B3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5953125" cy="4305300"/>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Get Classic Solitaire (Free) - Microsoft Store">
            <a:extLst>
              <a:ext uri="{FF2B5EF4-FFF2-40B4-BE49-F238E27FC236}">
                <a16:creationId xmlns:a16="http://schemas.microsoft.com/office/drawing/2014/main" id="{D7D3ACE2-29EE-42F4-8552-4BD35B7820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1200" y="3257550"/>
            <a:ext cx="6400800" cy="36004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7E2E1B8-1904-438C-8E8A-45A52CC7976B}"/>
              </a:ext>
            </a:extLst>
          </p:cNvPr>
          <p:cNvSpPr txBox="1"/>
          <p:nvPr/>
        </p:nvSpPr>
        <p:spPr>
          <a:xfrm>
            <a:off x="397907" y="4976869"/>
            <a:ext cx="5157309" cy="1209562"/>
          </a:xfrm>
          <a:prstGeom prst="rect">
            <a:avLst/>
          </a:prstGeom>
          <a:noFill/>
        </p:spPr>
        <p:txBody>
          <a:bodyPr wrap="none" lIns="182880" tIns="146304" rIns="182880" bIns="146304" rtlCol="0">
            <a:spAutoFit/>
          </a:bodyPr>
          <a:lstStyle/>
          <a:p>
            <a:pPr>
              <a:lnSpc>
                <a:spcPct val="90000"/>
              </a:lnSpc>
              <a:spcAft>
                <a:spcPts val="600"/>
              </a:spcAft>
            </a:pPr>
            <a:r>
              <a:rPr lang="en-GB" sz="6600" dirty="0">
                <a:gradFill>
                  <a:gsLst>
                    <a:gs pos="2917">
                      <a:schemeClr val="tx1"/>
                    </a:gs>
                    <a:gs pos="30000">
                      <a:schemeClr val="tx1"/>
                    </a:gs>
                  </a:gsLst>
                  <a:lin ang="5400000" scaled="0"/>
                </a:gradFill>
              </a:rPr>
              <a:t>GIVE DATA….</a:t>
            </a:r>
          </a:p>
        </p:txBody>
      </p:sp>
      <p:sp>
        <p:nvSpPr>
          <p:cNvPr id="3" name="TextBox 2">
            <a:extLst>
              <a:ext uri="{FF2B5EF4-FFF2-40B4-BE49-F238E27FC236}">
                <a16:creationId xmlns:a16="http://schemas.microsoft.com/office/drawing/2014/main" id="{6DCD102A-5793-4431-89FC-D2B88CE2CD36}"/>
              </a:ext>
            </a:extLst>
          </p:cNvPr>
          <p:cNvSpPr txBox="1"/>
          <p:nvPr/>
        </p:nvSpPr>
        <p:spPr>
          <a:xfrm>
            <a:off x="6896154" y="1023994"/>
            <a:ext cx="4190891" cy="1209562"/>
          </a:xfrm>
          <a:prstGeom prst="rect">
            <a:avLst/>
          </a:prstGeom>
          <a:noFill/>
        </p:spPr>
        <p:txBody>
          <a:bodyPr wrap="none" lIns="182880" tIns="146304" rIns="182880" bIns="146304" rtlCol="0">
            <a:spAutoFit/>
          </a:bodyPr>
          <a:lstStyle/>
          <a:p>
            <a:pPr>
              <a:lnSpc>
                <a:spcPct val="90000"/>
              </a:lnSpc>
              <a:spcAft>
                <a:spcPts val="600"/>
              </a:spcAft>
            </a:pPr>
            <a:r>
              <a:rPr lang="en-GB" sz="6600" dirty="0">
                <a:gradFill>
                  <a:gsLst>
                    <a:gs pos="2917">
                      <a:schemeClr val="tx1"/>
                    </a:gs>
                    <a:gs pos="30000">
                      <a:schemeClr val="tx1"/>
                    </a:gs>
                  </a:gsLst>
                  <a:lin ang="5400000" scaled="0"/>
                </a:gradFill>
              </a:rPr>
              <a:t>A Purpose</a:t>
            </a:r>
          </a:p>
        </p:txBody>
      </p:sp>
    </p:spTree>
    <p:extLst>
      <p:ext uri="{BB962C8B-B14F-4D97-AF65-F5344CB8AC3E}">
        <p14:creationId xmlns:p14="http://schemas.microsoft.com/office/powerpoint/2010/main" val="38895984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194"/>
                                        </p:tgtEl>
                                        <p:attrNameLst>
                                          <p:attrName>style.visibility</p:attrName>
                                        </p:attrNameLst>
                                      </p:cBhvr>
                                      <p:to>
                                        <p:strVal val="visible"/>
                                      </p:to>
                                    </p:set>
                                    <p:animEffect transition="in" filter="fade">
                                      <p:cBhvr>
                                        <p:cTn id="10" dur="500"/>
                                        <p:tgtEl>
                                          <p:spTgt spid="81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6F1E8D-36F7-4F5F-A20B-E4800CD8110F}"/>
              </a:ext>
            </a:extLst>
          </p:cNvPr>
          <p:cNvPicPr>
            <a:picLocks noChangeAspect="1"/>
          </p:cNvPicPr>
          <p:nvPr/>
        </p:nvPicPr>
        <p:blipFill>
          <a:blip r:embed="rId2"/>
          <a:stretch>
            <a:fillRect/>
          </a:stretch>
        </p:blipFill>
        <p:spPr>
          <a:xfrm>
            <a:off x="0" y="150452"/>
            <a:ext cx="12192000" cy="6557095"/>
          </a:xfrm>
          <a:prstGeom prst="rect">
            <a:avLst/>
          </a:prstGeom>
        </p:spPr>
      </p:pic>
      <p:pic>
        <p:nvPicPr>
          <p:cNvPr id="21506" name="Picture 2" descr="Benny (The LEGO Movie) | Brickipedia | Fandom">
            <a:extLst>
              <a:ext uri="{FF2B5EF4-FFF2-40B4-BE49-F238E27FC236}">
                <a16:creationId xmlns:a16="http://schemas.microsoft.com/office/drawing/2014/main" id="{5B700296-4092-4CF5-BA66-E7FE88EC87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3901" y="2926080"/>
            <a:ext cx="402336" cy="502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26666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Data Visualization | Microsoft Power BI">
            <a:extLst>
              <a:ext uri="{FF2B5EF4-FFF2-40B4-BE49-F238E27FC236}">
                <a16:creationId xmlns:a16="http://schemas.microsoft.com/office/drawing/2014/main" id="{9CE17D6C-6D36-4DF4-8739-E94DD8AACC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2530" name="Picture 2" descr="Benny | The LEGO Movie Wiki | Fandom">
            <a:extLst>
              <a:ext uri="{FF2B5EF4-FFF2-40B4-BE49-F238E27FC236}">
                <a16:creationId xmlns:a16="http://schemas.microsoft.com/office/drawing/2014/main" id="{28E68E11-F8DA-4777-ACA5-182015A922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34220" y="4277360"/>
            <a:ext cx="832330" cy="102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019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C462BB-42AB-4DEB-8476-756DB2F0857F}"/>
              </a:ext>
            </a:extLst>
          </p:cNvPr>
          <p:cNvPicPr>
            <a:picLocks noChangeAspect="1"/>
          </p:cNvPicPr>
          <p:nvPr/>
        </p:nvPicPr>
        <p:blipFill>
          <a:blip r:embed="rId2"/>
          <a:stretch>
            <a:fillRect/>
          </a:stretch>
        </p:blipFill>
        <p:spPr>
          <a:xfrm>
            <a:off x="0" y="352395"/>
            <a:ext cx="12192000" cy="6153210"/>
          </a:xfrm>
          <a:prstGeom prst="rect">
            <a:avLst/>
          </a:prstGeom>
        </p:spPr>
      </p:pic>
      <p:pic>
        <p:nvPicPr>
          <p:cNvPr id="4" name="Picture 2" descr="Benny (The LEGO Movie) | Brickipedia | Fandom">
            <a:extLst>
              <a:ext uri="{FF2B5EF4-FFF2-40B4-BE49-F238E27FC236}">
                <a16:creationId xmlns:a16="http://schemas.microsoft.com/office/drawing/2014/main" id="{D21867A8-6520-47D5-80FA-8C527BF807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4873624"/>
            <a:ext cx="811277" cy="101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6779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EF3097-4F63-4F2E-AB60-C4A7DC0BB1D9}"/>
              </a:ext>
            </a:extLst>
          </p:cNvPr>
          <p:cNvPicPr>
            <a:picLocks noChangeAspect="1"/>
          </p:cNvPicPr>
          <p:nvPr/>
        </p:nvPicPr>
        <p:blipFill>
          <a:blip r:embed="rId2"/>
          <a:stretch>
            <a:fillRect/>
          </a:stretch>
        </p:blipFill>
        <p:spPr>
          <a:xfrm>
            <a:off x="0" y="333175"/>
            <a:ext cx="12192000" cy="6191649"/>
          </a:xfrm>
          <a:prstGeom prst="rect">
            <a:avLst/>
          </a:prstGeom>
        </p:spPr>
      </p:pic>
      <p:pic>
        <p:nvPicPr>
          <p:cNvPr id="4" name="Picture 2" descr="Benny | The LEGO Movie Wiki | Fandom">
            <a:extLst>
              <a:ext uri="{FF2B5EF4-FFF2-40B4-BE49-F238E27FC236}">
                <a16:creationId xmlns:a16="http://schemas.microsoft.com/office/drawing/2014/main" id="{B68D064F-6161-4FF2-981A-C697634215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9670" y="5831840"/>
            <a:ext cx="832330" cy="102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4172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extBox 68">
            <a:extLst>
              <a:ext uri="{FF2B5EF4-FFF2-40B4-BE49-F238E27FC236}">
                <a16:creationId xmlns:a16="http://schemas.microsoft.com/office/drawing/2014/main" id="{8DFEA743-DE12-8B46-91CC-DFDD0C7A4C3D}"/>
              </a:ext>
            </a:extLst>
          </p:cNvPr>
          <p:cNvSpPr txBox="1"/>
          <p:nvPr/>
        </p:nvSpPr>
        <p:spPr>
          <a:xfrm>
            <a:off x="9036310" y="2925439"/>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3">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pic>
        <p:nvPicPr>
          <p:cNvPr id="72" name="Picture 71">
            <a:extLst>
              <a:ext uri="{FF2B5EF4-FFF2-40B4-BE49-F238E27FC236}">
                <a16:creationId xmlns:a16="http://schemas.microsoft.com/office/drawing/2014/main" id="{4230A197-FE75-BF40-8151-B7BFCD30B3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72427" y="2667291"/>
            <a:ext cx="1300592" cy="304826"/>
          </a:xfrm>
          <a:prstGeom prst="rect">
            <a:avLst/>
          </a:prstGeom>
        </p:spPr>
      </p:pic>
      <p:pic>
        <p:nvPicPr>
          <p:cNvPr id="42" name="Picture 41" descr="A large passenger jet flying through a blue sky&#10;&#10;Description automatically generated">
            <a:extLst>
              <a:ext uri="{FF2B5EF4-FFF2-40B4-BE49-F238E27FC236}">
                <a16:creationId xmlns:a16="http://schemas.microsoft.com/office/drawing/2014/main" id="{22B4DD1F-C336-FA49-9255-570DF406C33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653" r="32505" b="104"/>
          <a:stretch/>
        </p:blipFill>
        <p:spPr>
          <a:xfrm>
            <a:off x="9140614" y="1103301"/>
            <a:ext cx="2192272" cy="1370170"/>
          </a:xfrm>
          <a:prstGeom prst="rect">
            <a:avLst/>
          </a:prstGeom>
          <a:effectLst>
            <a:outerShdw blurRad="190500" dist="76200" dir="2700000" algn="ctr" rotWithShape="0">
              <a:prstClr val="black">
                <a:alpha val="40000"/>
              </a:prstClr>
            </a:outerShdw>
          </a:effectLst>
        </p:spPr>
      </p:pic>
      <p:grpSp>
        <p:nvGrpSpPr>
          <p:cNvPr id="49" name="Group 48">
            <a:extLst>
              <a:ext uri="{FF2B5EF4-FFF2-40B4-BE49-F238E27FC236}">
                <a16:creationId xmlns:a16="http://schemas.microsoft.com/office/drawing/2014/main" id="{50E37E3A-36F2-42AD-B923-335428C1CB46}"/>
              </a:ext>
            </a:extLst>
          </p:cNvPr>
          <p:cNvGrpSpPr/>
          <p:nvPr/>
        </p:nvGrpSpPr>
        <p:grpSpPr>
          <a:xfrm>
            <a:off x="10950413" y="2765549"/>
            <a:ext cx="407691" cy="412355"/>
            <a:chOff x="6938516" y="7120653"/>
            <a:chExt cx="407691" cy="412355"/>
          </a:xfrm>
        </p:grpSpPr>
        <p:sp>
          <p:nvSpPr>
            <p:cNvPr id="70" name="Oval 69">
              <a:extLst>
                <a:ext uri="{FF2B5EF4-FFF2-40B4-BE49-F238E27FC236}">
                  <a16:creationId xmlns:a16="http://schemas.microsoft.com/office/drawing/2014/main" id="{4195D443-8263-A84E-9189-AF1AD69514CA}"/>
                </a:ext>
              </a:extLst>
            </p:cNvPr>
            <p:cNvSpPr/>
            <p:nvPr/>
          </p:nvSpPr>
          <p:spPr bwMode="auto">
            <a:xfrm rot="5400000">
              <a:off x="6936184" y="7122985"/>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23" name="Graphic 22" descr="Airplane">
              <a:extLst>
                <a:ext uri="{FF2B5EF4-FFF2-40B4-BE49-F238E27FC236}">
                  <a16:creationId xmlns:a16="http://schemas.microsoft.com/office/drawing/2014/main" id="{FFE5A9DB-2203-0E41-A78B-1C490CDBE79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6971477" y="7166046"/>
              <a:ext cx="331771" cy="331771"/>
            </a:xfrm>
            <a:prstGeom prst="rect">
              <a:avLst/>
            </a:prstGeom>
          </p:spPr>
        </p:pic>
      </p:grpSp>
      <p:pic>
        <p:nvPicPr>
          <p:cNvPr id="5" name="Picture 4" descr="A large red truck driving down a street&#10;&#10;Description generated with very high confidence">
            <a:extLst>
              <a:ext uri="{FF2B5EF4-FFF2-40B4-BE49-F238E27FC236}">
                <a16:creationId xmlns:a16="http://schemas.microsoft.com/office/drawing/2014/main" id="{63162E66-5F3D-47F1-A1F6-613A7741D51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969" r="4969"/>
          <a:stretch/>
        </p:blipFill>
        <p:spPr>
          <a:xfrm>
            <a:off x="3569492" y="3535189"/>
            <a:ext cx="2194560" cy="1371600"/>
          </a:xfrm>
          <a:prstGeom prst="rect">
            <a:avLst/>
          </a:prstGeom>
          <a:ln>
            <a:noFill/>
          </a:ln>
          <a:effectLst>
            <a:outerShdw blurRad="190500" dist="76200" dir="2700000" algn="ctr" rotWithShape="0">
              <a:prstClr val="black">
                <a:alpha val="40000"/>
              </a:prstClr>
            </a:outerShdw>
          </a:effectLst>
        </p:spPr>
      </p:pic>
      <p:pic>
        <p:nvPicPr>
          <p:cNvPr id="9" name="Picture 8">
            <a:extLst>
              <a:ext uri="{FF2B5EF4-FFF2-40B4-BE49-F238E27FC236}">
                <a16:creationId xmlns:a16="http://schemas.microsoft.com/office/drawing/2014/main" id="{A54BE440-9064-44CB-8788-FC7F338F09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27690" y="4959063"/>
            <a:ext cx="1257300" cy="571500"/>
          </a:xfrm>
          <a:prstGeom prst="rect">
            <a:avLst/>
          </a:prstGeom>
        </p:spPr>
      </p:pic>
      <p:sp>
        <p:nvSpPr>
          <p:cNvPr id="30" name="TextBox 29">
            <a:extLst>
              <a:ext uri="{FF2B5EF4-FFF2-40B4-BE49-F238E27FC236}">
                <a16:creationId xmlns:a16="http://schemas.microsoft.com/office/drawing/2014/main" id="{190AF203-89DC-43D2-A773-DEEF60A247EE}"/>
              </a:ext>
            </a:extLst>
          </p:cNvPr>
          <p:cNvSpPr txBox="1"/>
          <p:nvPr/>
        </p:nvSpPr>
        <p:spPr>
          <a:xfrm>
            <a:off x="3388603" y="5403878"/>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0">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3" name="Group 2">
            <a:extLst>
              <a:ext uri="{FF2B5EF4-FFF2-40B4-BE49-F238E27FC236}">
                <a16:creationId xmlns:a16="http://schemas.microsoft.com/office/drawing/2014/main" id="{4DDEF433-1515-4C92-BBC3-BBA7A55DAD11}"/>
              </a:ext>
            </a:extLst>
          </p:cNvPr>
          <p:cNvGrpSpPr/>
          <p:nvPr/>
        </p:nvGrpSpPr>
        <p:grpSpPr>
          <a:xfrm>
            <a:off x="5371062" y="5272624"/>
            <a:ext cx="407691" cy="412355"/>
            <a:chOff x="3182888" y="2118664"/>
            <a:chExt cx="407691" cy="412355"/>
          </a:xfrm>
        </p:grpSpPr>
        <p:sp>
          <p:nvSpPr>
            <p:cNvPr id="25" name="Oval 24">
              <a:extLst>
                <a:ext uri="{FF2B5EF4-FFF2-40B4-BE49-F238E27FC236}">
                  <a16:creationId xmlns:a16="http://schemas.microsoft.com/office/drawing/2014/main" id="{CBF28FAD-2848-4B4F-8621-FF58BB2D4091}"/>
                </a:ext>
              </a:extLst>
            </p:cNvPr>
            <p:cNvSpPr/>
            <p:nvPr/>
          </p:nvSpPr>
          <p:spPr bwMode="auto">
            <a:xfrm rot="5400000">
              <a:off x="3180556" y="2120996"/>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 name="Plus Sign 20">
              <a:extLst>
                <a:ext uri="{FF2B5EF4-FFF2-40B4-BE49-F238E27FC236}">
                  <a16:creationId xmlns:a16="http://schemas.microsoft.com/office/drawing/2014/main" id="{D97FDA64-1D17-48BB-BD3F-12F1E08846CB}"/>
                </a:ext>
              </a:extLst>
            </p:cNvPr>
            <p:cNvSpPr/>
            <p:nvPr/>
          </p:nvSpPr>
          <p:spPr bwMode="auto">
            <a:xfrm>
              <a:off x="3297291" y="2223213"/>
              <a:ext cx="178883" cy="197657"/>
            </a:xfrm>
            <a:prstGeom prst="mathPlus">
              <a:avLst/>
            </a:prstGeom>
            <a:solidFill>
              <a:srgbClr val="5C005C"/>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84934379-ACBB-481F-932F-0E55A96187ED}"/>
              </a:ext>
            </a:extLst>
          </p:cNvPr>
          <p:cNvSpPr txBox="1"/>
          <p:nvPr/>
        </p:nvSpPr>
        <p:spPr>
          <a:xfrm>
            <a:off x="6154914" y="5316186"/>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1">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pic>
        <p:nvPicPr>
          <p:cNvPr id="10" name="Picture 9">
            <a:extLst>
              <a:ext uri="{FF2B5EF4-FFF2-40B4-BE49-F238E27FC236}">
                <a16:creationId xmlns:a16="http://schemas.microsoft.com/office/drawing/2014/main" id="{D7494F3B-A805-40D0-983A-6249A236B983}"/>
              </a:ext>
            </a:extLst>
          </p:cNvPr>
          <p:cNvPicPr>
            <a:picLocks noChangeAspect="1"/>
          </p:cNvPicPr>
          <p:nvPr/>
        </p:nvPicPr>
        <p:blipFill rotWithShape="1">
          <a:blip r:embed="rId12"/>
          <a:srcRect l="4969" r="4969"/>
          <a:stretch/>
        </p:blipFill>
        <p:spPr>
          <a:xfrm>
            <a:off x="787236" y="3568603"/>
            <a:ext cx="2194560" cy="1371600"/>
          </a:xfrm>
          <a:prstGeom prst="rect">
            <a:avLst/>
          </a:prstGeom>
          <a:ln>
            <a:noFill/>
          </a:ln>
          <a:effectLst>
            <a:outerShdw blurRad="190500" dist="76200" dir="2700000" algn="ctr" rotWithShape="0">
              <a:prstClr val="black">
                <a:alpha val="40000"/>
              </a:prstClr>
            </a:outerShdw>
          </a:effectLst>
        </p:spPr>
      </p:pic>
      <p:pic>
        <p:nvPicPr>
          <p:cNvPr id="17" name="Picture 16" descr="A close up of a sign&#10;&#10;Description generated with high confidence">
            <a:extLst>
              <a:ext uri="{FF2B5EF4-FFF2-40B4-BE49-F238E27FC236}">
                <a16:creationId xmlns:a16="http://schemas.microsoft.com/office/drawing/2014/main" id="{BEF39FEA-CAF0-46C3-9B4B-D4D843C278B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58535" y="4984377"/>
            <a:ext cx="1257300" cy="571500"/>
          </a:xfrm>
          <a:prstGeom prst="rect">
            <a:avLst/>
          </a:prstGeom>
        </p:spPr>
      </p:pic>
      <p:sp>
        <p:nvSpPr>
          <p:cNvPr id="31" name="TextBox 30">
            <a:extLst>
              <a:ext uri="{FF2B5EF4-FFF2-40B4-BE49-F238E27FC236}">
                <a16:creationId xmlns:a16="http://schemas.microsoft.com/office/drawing/2014/main" id="{48E8C497-D3E2-4ABB-85D1-C8D53C174DF2}"/>
              </a:ext>
            </a:extLst>
          </p:cNvPr>
          <p:cNvSpPr txBox="1"/>
          <p:nvPr/>
        </p:nvSpPr>
        <p:spPr>
          <a:xfrm>
            <a:off x="609237" y="5403878"/>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4">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7" name="Group 6">
            <a:extLst>
              <a:ext uri="{FF2B5EF4-FFF2-40B4-BE49-F238E27FC236}">
                <a16:creationId xmlns:a16="http://schemas.microsoft.com/office/drawing/2014/main" id="{86F003AE-D59D-4269-B9E5-86D244868E3E}"/>
              </a:ext>
            </a:extLst>
          </p:cNvPr>
          <p:cNvGrpSpPr/>
          <p:nvPr/>
        </p:nvGrpSpPr>
        <p:grpSpPr>
          <a:xfrm>
            <a:off x="2633871" y="5270127"/>
            <a:ext cx="407691" cy="412355"/>
            <a:chOff x="7168157" y="2096002"/>
            <a:chExt cx="407691" cy="412355"/>
          </a:xfrm>
        </p:grpSpPr>
        <p:sp>
          <p:nvSpPr>
            <p:cNvPr id="34" name="Oval 33">
              <a:extLst>
                <a:ext uri="{FF2B5EF4-FFF2-40B4-BE49-F238E27FC236}">
                  <a16:creationId xmlns:a16="http://schemas.microsoft.com/office/drawing/2014/main" id="{E438A7B1-E9B6-4B59-86F6-7112E83BE943}"/>
                </a:ext>
              </a:extLst>
            </p:cNvPr>
            <p:cNvSpPr/>
            <p:nvPr/>
          </p:nvSpPr>
          <p:spPr bwMode="auto">
            <a:xfrm rot="5400000">
              <a:off x="7165825" y="2098334"/>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64" name="Group 67">
              <a:extLst>
                <a:ext uri="{FF2B5EF4-FFF2-40B4-BE49-F238E27FC236}">
                  <a16:creationId xmlns:a16="http://schemas.microsoft.com/office/drawing/2014/main" id="{A72BEBE8-0340-4A3A-92C4-E44C4B79EC8A}"/>
                </a:ext>
              </a:extLst>
            </p:cNvPr>
            <p:cNvGrpSpPr>
              <a:grpSpLocks noChangeAspect="1"/>
            </p:cNvGrpSpPr>
            <p:nvPr/>
          </p:nvGrpSpPr>
          <p:grpSpPr bwMode="auto">
            <a:xfrm>
              <a:off x="7272552" y="2194670"/>
              <a:ext cx="200541" cy="200541"/>
              <a:chOff x="2856" y="293"/>
              <a:chExt cx="312" cy="312"/>
            </a:xfrm>
          </p:grpSpPr>
          <p:sp>
            <p:nvSpPr>
              <p:cNvPr id="76" name="AutoShape 66">
                <a:extLst>
                  <a:ext uri="{FF2B5EF4-FFF2-40B4-BE49-F238E27FC236}">
                    <a16:creationId xmlns:a16="http://schemas.microsoft.com/office/drawing/2014/main" id="{6390A55E-CD33-4325-9F88-86E457BBDDEA}"/>
                  </a:ext>
                </a:extLst>
              </p:cNvPr>
              <p:cNvSpPr>
                <a:spLocks noChangeAspect="1" noChangeArrowheads="1" noTextEdit="1"/>
              </p:cNvSpPr>
              <p:nvPr/>
            </p:nvSpPr>
            <p:spPr bwMode="auto">
              <a:xfrm>
                <a:off x="2856" y="29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Freeform 68">
                <a:extLst>
                  <a:ext uri="{FF2B5EF4-FFF2-40B4-BE49-F238E27FC236}">
                    <a16:creationId xmlns:a16="http://schemas.microsoft.com/office/drawing/2014/main" id="{719649E3-794E-41CB-9DE6-7EFC341B4149}"/>
                  </a:ext>
                </a:extLst>
              </p:cNvPr>
              <p:cNvSpPr>
                <a:spLocks/>
              </p:cNvSpPr>
              <p:nvPr/>
            </p:nvSpPr>
            <p:spPr bwMode="auto">
              <a:xfrm>
                <a:off x="2997" y="390"/>
                <a:ext cx="91" cy="60"/>
              </a:xfrm>
              <a:custGeom>
                <a:avLst/>
                <a:gdLst>
                  <a:gd name="T0" fmla="*/ 20 w 120"/>
                  <a:gd name="T1" fmla="*/ 80 h 80"/>
                  <a:gd name="T2" fmla="*/ 20 w 120"/>
                  <a:gd name="T3" fmla="*/ 80 h 80"/>
                  <a:gd name="T4" fmla="*/ 47 w 120"/>
                  <a:gd name="T5" fmla="*/ 80 h 80"/>
                  <a:gd name="T6" fmla="*/ 54 w 120"/>
                  <a:gd name="T7" fmla="*/ 79 h 80"/>
                  <a:gd name="T8" fmla="*/ 61 w 120"/>
                  <a:gd name="T9" fmla="*/ 74 h 80"/>
                  <a:gd name="T10" fmla="*/ 65 w 120"/>
                  <a:gd name="T11" fmla="*/ 68 h 80"/>
                  <a:gd name="T12" fmla="*/ 67 w 120"/>
                  <a:gd name="T13" fmla="*/ 60 h 80"/>
                  <a:gd name="T14" fmla="*/ 70 w 120"/>
                  <a:gd name="T15" fmla="*/ 59 h 80"/>
                  <a:gd name="T16" fmla="*/ 100 w 120"/>
                  <a:gd name="T17" fmla="*/ 39 h 80"/>
                  <a:gd name="T18" fmla="*/ 120 w 120"/>
                  <a:gd name="T19" fmla="*/ 9 h 80"/>
                  <a:gd name="T20" fmla="*/ 120 w 120"/>
                  <a:gd name="T21" fmla="*/ 7 h 80"/>
                  <a:gd name="T22" fmla="*/ 118 w 120"/>
                  <a:gd name="T23" fmla="*/ 2 h 80"/>
                  <a:gd name="T24" fmla="*/ 113 w 120"/>
                  <a:gd name="T25" fmla="*/ 0 h 80"/>
                  <a:gd name="T26" fmla="*/ 107 w 120"/>
                  <a:gd name="T27" fmla="*/ 4 h 80"/>
                  <a:gd name="T28" fmla="*/ 90 w 120"/>
                  <a:gd name="T29" fmla="*/ 30 h 80"/>
                  <a:gd name="T30" fmla="*/ 64 w 120"/>
                  <a:gd name="T31" fmla="*/ 47 h 80"/>
                  <a:gd name="T32" fmla="*/ 62 w 120"/>
                  <a:gd name="T33" fmla="*/ 48 h 80"/>
                  <a:gd name="T34" fmla="*/ 55 w 120"/>
                  <a:gd name="T35" fmla="*/ 42 h 80"/>
                  <a:gd name="T36" fmla="*/ 47 w 120"/>
                  <a:gd name="T37" fmla="*/ 40 h 80"/>
                  <a:gd name="T38" fmla="*/ 20 w 120"/>
                  <a:gd name="T39" fmla="*/ 40 h 80"/>
                  <a:gd name="T40" fmla="*/ 6 w 120"/>
                  <a:gd name="T41" fmla="*/ 46 h 80"/>
                  <a:gd name="T42" fmla="*/ 0 w 120"/>
                  <a:gd name="T43" fmla="*/ 60 h 80"/>
                  <a:gd name="T44" fmla="*/ 6 w 120"/>
                  <a:gd name="T45" fmla="*/ 74 h 80"/>
                  <a:gd name="T46" fmla="*/ 20 w 120"/>
                  <a:gd name="T4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20" y="80"/>
                    </a:moveTo>
                    <a:lnTo>
                      <a:pt x="20" y="80"/>
                    </a:lnTo>
                    <a:lnTo>
                      <a:pt x="47" y="80"/>
                    </a:lnTo>
                    <a:cubicBezTo>
                      <a:pt x="49" y="80"/>
                      <a:pt x="52" y="80"/>
                      <a:pt x="54" y="79"/>
                    </a:cubicBezTo>
                    <a:cubicBezTo>
                      <a:pt x="57" y="78"/>
                      <a:pt x="59" y="76"/>
                      <a:pt x="61" y="74"/>
                    </a:cubicBezTo>
                    <a:cubicBezTo>
                      <a:pt x="63" y="73"/>
                      <a:pt x="64" y="70"/>
                      <a:pt x="65" y="68"/>
                    </a:cubicBezTo>
                    <a:cubicBezTo>
                      <a:pt x="66" y="66"/>
                      <a:pt x="67" y="63"/>
                      <a:pt x="67" y="60"/>
                    </a:cubicBezTo>
                    <a:cubicBezTo>
                      <a:pt x="68" y="60"/>
                      <a:pt x="68" y="60"/>
                      <a:pt x="70" y="59"/>
                    </a:cubicBezTo>
                    <a:cubicBezTo>
                      <a:pt x="81" y="54"/>
                      <a:pt x="91" y="48"/>
                      <a:pt x="100" y="39"/>
                    </a:cubicBezTo>
                    <a:cubicBezTo>
                      <a:pt x="108" y="31"/>
                      <a:pt x="115" y="21"/>
                      <a:pt x="120" y="9"/>
                    </a:cubicBezTo>
                    <a:cubicBezTo>
                      <a:pt x="120" y="9"/>
                      <a:pt x="120" y="8"/>
                      <a:pt x="120" y="7"/>
                    </a:cubicBezTo>
                    <a:cubicBezTo>
                      <a:pt x="120" y="5"/>
                      <a:pt x="120" y="3"/>
                      <a:pt x="118" y="2"/>
                    </a:cubicBezTo>
                    <a:cubicBezTo>
                      <a:pt x="117" y="1"/>
                      <a:pt x="115" y="0"/>
                      <a:pt x="113" y="0"/>
                    </a:cubicBezTo>
                    <a:cubicBezTo>
                      <a:pt x="111" y="0"/>
                      <a:pt x="109" y="2"/>
                      <a:pt x="107" y="4"/>
                    </a:cubicBezTo>
                    <a:cubicBezTo>
                      <a:pt x="103" y="14"/>
                      <a:pt x="97" y="22"/>
                      <a:pt x="90" y="30"/>
                    </a:cubicBezTo>
                    <a:cubicBezTo>
                      <a:pt x="83" y="38"/>
                      <a:pt x="74" y="44"/>
                      <a:pt x="64" y="47"/>
                    </a:cubicBezTo>
                    <a:lnTo>
                      <a:pt x="62" y="48"/>
                    </a:lnTo>
                    <a:cubicBezTo>
                      <a:pt x="61" y="46"/>
                      <a:pt x="58" y="44"/>
                      <a:pt x="55" y="42"/>
                    </a:cubicBezTo>
                    <a:cubicBezTo>
                      <a:pt x="53" y="41"/>
                      <a:pt x="50" y="40"/>
                      <a:pt x="47" y="40"/>
                    </a:cubicBezTo>
                    <a:lnTo>
                      <a:pt x="20" y="40"/>
                    </a:lnTo>
                    <a:cubicBezTo>
                      <a:pt x="15" y="40"/>
                      <a:pt x="10" y="42"/>
                      <a:pt x="6" y="46"/>
                    </a:cubicBezTo>
                    <a:cubicBezTo>
                      <a:pt x="2" y="50"/>
                      <a:pt x="0" y="55"/>
                      <a:pt x="0" y="60"/>
                    </a:cubicBezTo>
                    <a:cubicBezTo>
                      <a:pt x="0" y="66"/>
                      <a:pt x="2" y="70"/>
                      <a:pt x="6" y="74"/>
                    </a:cubicBezTo>
                    <a:cubicBezTo>
                      <a:pt x="10" y="78"/>
                      <a:pt x="15" y="80"/>
                      <a:pt x="20" y="80"/>
                    </a:cubicBezTo>
                    <a:close/>
                  </a:path>
                </a:pathLst>
              </a:custGeom>
              <a:solidFill>
                <a:srgbClr val="C1C1C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 name="Freeform 69">
                <a:extLst>
                  <a:ext uri="{FF2B5EF4-FFF2-40B4-BE49-F238E27FC236}">
                    <a16:creationId xmlns:a16="http://schemas.microsoft.com/office/drawing/2014/main" id="{E9FC4C6A-2FF7-46CB-89E2-3C2E2DD70A3C}"/>
                  </a:ext>
                </a:extLst>
              </p:cNvPr>
              <p:cNvSpPr>
                <a:spLocks/>
              </p:cNvSpPr>
              <p:nvPr/>
            </p:nvSpPr>
            <p:spPr bwMode="auto">
              <a:xfrm>
                <a:off x="2927" y="290"/>
                <a:ext cx="201" cy="191"/>
              </a:xfrm>
              <a:custGeom>
                <a:avLst/>
                <a:gdLst>
                  <a:gd name="T0" fmla="*/ 33 w 265"/>
                  <a:gd name="T1" fmla="*/ 214 h 252"/>
                  <a:gd name="T2" fmla="*/ 33 w 265"/>
                  <a:gd name="T3" fmla="*/ 214 h 252"/>
                  <a:gd name="T4" fmla="*/ 71 w 265"/>
                  <a:gd name="T5" fmla="*/ 242 h 252"/>
                  <a:gd name="T6" fmla="*/ 119 w 265"/>
                  <a:gd name="T7" fmla="*/ 252 h 252"/>
                  <a:gd name="T8" fmla="*/ 156 w 265"/>
                  <a:gd name="T9" fmla="*/ 246 h 252"/>
                  <a:gd name="T10" fmla="*/ 187 w 265"/>
                  <a:gd name="T11" fmla="*/ 230 h 252"/>
                  <a:gd name="T12" fmla="*/ 212 w 265"/>
                  <a:gd name="T13" fmla="*/ 205 h 252"/>
                  <a:gd name="T14" fmla="*/ 230 w 265"/>
                  <a:gd name="T15" fmla="*/ 172 h 252"/>
                  <a:gd name="T16" fmla="*/ 252 w 265"/>
                  <a:gd name="T17" fmla="*/ 172 h 252"/>
                  <a:gd name="T18" fmla="*/ 262 w 265"/>
                  <a:gd name="T19" fmla="*/ 168 h 252"/>
                  <a:gd name="T20" fmla="*/ 265 w 265"/>
                  <a:gd name="T21" fmla="*/ 159 h 252"/>
                  <a:gd name="T22" fmla="*/ 265 w 265"/>
                  <a:gd name="T23" fmla="*/ 92 h 252"/>
                  <a:gd name="T24" fmla="*/ 262 w 265"/>
                  <a:gd name="T25" fmla="*/ 83 h 252"/>
                  <a:gd name="T26" fmla="*/ 252 w 265"/>
                  <a:gd name="T27" fmla="*/ 79 h 252"/>
                  <a:gd name="T28" fmla="*/ 230 w 265"/>
                  <a:gd name="T29" fmla="*/ 79 h 252"/>
                  <a:gd name="T30" fmla="*/ 212 w 265"/>
                  <a:gd name="T31" fmla="*/ 46 h 252"/>
                  <a:gd name="T32" fmla="*/ 187 w 265"/>
                  <a:gd name="T33" fmla="*/ 21 h 252"/>
                  <a:gd name="T34" fmla="*/ 156 w 265"/>
                  <a:gd name="T35" fmla="*/ 5 h 252"/>
                  <a:gd name="T36" fmla="*/ 119 w 265"/>
                  <a:gd name="T37" fmla="*/ 0 h 252"/>
                  <a:gd name="T38" fmla="*/ 71 w 265"/>
                  <a:gd name="T39" fmla="*/ 9 h 252"/>
                  <a:gd name="T40" fmla="*/ 33 w 265"/>
                  <a:gd name="T41" fmla="*/ 37 h 252"/>
                  <a:gd name="T42" fmla="*/ 9 w 265"/>
                  <a:gd name="T43" fmla="*/ 77 h 252"/>
                  <a:gd name="T44" fmla="*/ 0 w 265"/>
                  <a:gd name="T45" fmla="*/ 126 h 252"/>
                  <a:gd name="T46" fmla="*/ 9 w 265"/>
                  <a:gd name="T47" fmla="*/ 174 h 252"/>
                  <a:gd name="T48" fmla="*/ 33 w 265"/>
                  <a:gd name="T49" fmla="*/ 2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5" h="252">
                    <a:moveTo>
                      <a:pt x="33" y="214"/>
                    </a:moveTo>
                    <a:lnTo>
                      <a:pt x="33" y="214"/>
                    </a:lnTo>
                    <a:cubicBezTo>
                      <a:pt x="43" y="226"/>
                      <a:pt x="56" y="235"/>
                      <a:pt x="71" y="242"/>
                    </a:cubicBezTo>
                    <a:cubicBezTo>
                      <a:pt x="85" y="249"/>
                      <a:pt x="101" y="252"/>
                      <a:pt x="119" y="252"/>
                    </a:cubicBezTo>
                    <a:cubicBezTo>
                      <a:pt x="132" y="252"/>
                      <a:pt x="144" y="250"/>
                      <a:pt x="156" y="246"/>
                    </a:cubicBezTo>
                    <a:cubicBezTo>
                      <a:pt x="167" y="243"/>
                      <a:pt x="178" y="237"/>
                      <a:pt x="187" y="230"/>
                    </a:cubicBezTo>
                    <a:cubicBezTo>
                      <a:pt x="197" y="223"/>
                      <a:pt x="205" y="215"/>
                      <a:pt x="212" y="205"/>
                    </a:cubicBezTo>
                    <a:cubicBezTo>
                      <a:pt x="220" y="195"/>
                      <a:pt x="225" y="184"/>
                      <a:pt x="230" y="172"/>
                    </a:cubicBezTo>
                    <a:lnTo>
                      <a:pt x="252" y="172"/>
                    </a:lnTo>
                    <a:cubicBezTo>
                      <a:pt x="256" y="172"/>
                      <a:pt x="259" y="171"/>
                      <a:pt x="262" y="168"/>
                    </a:cubicBezTo>
                    <a:cubicBezTo>
                      <a:pt x="264" y="166"/>
                      <a:pt x="265" y="162"/>
                      <a:pt x="265" y="159"/>
                    </a:cubicBezTo>
                    <a:lnTo>
                      <a:pt x="265" y="92"/>
                    </a:lnTo>
                    <a:cubicBezTo>
                      <a:pt x="265" y="89"/>
                      <a:pt x="264" y="85"/>
                      <a:pt x="262" y="83"/>
                    </a:cubicBezTo>
                    <a:cubicBezTo>
                      <a:pt x="259" y="80"/>
                      <a:pt x="256" y="79"/>
                      <a:pt x="252" y="79"/>
                    </a:cubicBezTo>
                    <a:lnTo>
                      <a:pt x="230" y="79"/>
                    </a:lnTo>
                    <a:cubicBezTo>
                      <a:pt x="225" y="67"/>
                      <a:pt x="220" y="56"/>
                      <a:pt x="212" y="46"/>
                    </a:cubicBezTo>
                    <a:cubicBezTo>
                      <a:pt x="205" y="36"/>
                      <a:pt x="197" y="28"/>
                      <a:pt x="187" y="21"/>
                    </a:cubicBezTo>
                    <a:cubicBezTo>
                      <a:pt x="178" y="14"/>
                      <a:pt x="167" y="8"/>
                      <a:pt x="156" y="5"/>
                    </a:cubicBezTo>
                    <a:cubicBezTo>
                      <a:pt x="144" y="2"/>
                      <a:pt x="132" y="0"/>
                      <a:pt x="119" y="0"/>
                    </a:cubicBezTo>
                    <a:cubicBezTo>
                      <a:pt x="101" y="0"/>
                      <a:pt x="85" y="3"/>
                      <a:pt x="71" y="9"/>
                    </a:cubicBezTo>
                    <a:cubicBezTo>
                      <a:pt x="56" y="16"/>
                      <a:pt x="43" y="25"/>
                      <a:pt x="33" y="37"/>
                    </a:cubicBezTo>
                    <a:cubicBezTo>
                      <a:pt x="23" y="48"/>
                      <a:pt x="14" y="62"/>
                      <a:pt x="9" y="77"/>
                    </a:cubicBezTo>
                    <a:cubicBezTo>
                      <a:pt x="3" y="92"/>
                      <a:pt x="0" y="108"/>
                      <a:pt x="0" y="126"/>
                    </a:cubicBezTo>
                    <a:cubicBezTo>
                      <a:pt x="0" y="143"/>
                      <a:pt x="3" y="159"/>
                      <a:pt x="9" y="174"/>
                    </a:cubicBezTo>
                    <a:cubicBezTo>
                      <a:pt x="14" y="189"/>
                      <a:pt x="23" y="203"/>
                      <a:pt x="33" y="214"/>
                    </a:cubicBezTo>
                    <a:close/>
                  </a:path>
                </a:pathLst>
              </a:custGeom>
              <a:solidFill>
                <a:schemeClr val="accent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Freeform 70">
                <a:extLst>
                  <a:ext uri="{FF2B5EF4-FFF2-40B4-BE49-F238E27FC236}">
                    <a16:creationId xmlns:a16="http://schemas.microsoft.com/office/drawing/2014/main" id="{4006DC03-42ED-4F78-9E36-F3F955C23ACE}"/>
                  </a:ext>
                </a:extLst>
              </p:cNvPr>
              <p:cNvSpPr>
                <a:spLocks/>
              </p:cNvSpPr>
              <p:nvPr/>
            </p:nvSpPr>
            <p:spPr bwMode="auto">
              <a:xfrm>
                <a:off x="2879" y="501"/>
                <a:ext cx="276" cy="111"/>
              </a:xfrm>
              <a:custGeom>
                <a:avLst/>
                <a:gdLst>
                  <a:gd name="T0" fmla="*/ 343 w 365"/>
                  <a:gd name="T1" fmla="*/ 82 h 146"/>
                  <a:gd name="T2" fmla="*/ 343 w 365"/>
                  <a:gd name="T3" fmla="*/ 82 h 146"/>
                  <a:gd name="T4" fmla="*/ 304 w 365"/>
                  <a:gd name="T5" fmla="*/ 36 h 146"/>
                  <a:gd name="T6" fmla="*/ 250 w 365"/>
                  <a:gd name="T7" fmla="*/ 9 h 146"/>
                  <a:gd name="T8" fmla="*/ 183 w 365"/>
                  <a:gd name="T9" fmla="*/ 0 h 146"/>
                  <a:gd name="T10" fmla="*/ 116 w 365"/>
                  <a:gd name="T11" fmla="*/ 9 h 146"/>
                  <a:gd name="T12" fmla="*/ 62 w 365"/>
                  <a:gd name="T13" fmla="*/ 36 h 146"/>
                  <a:gd name="T14" fmla="*/ 22 w 365"/>
                  <a:gd name="T15" fmla="*/ 82 h 146"/>
                  <a:gd name="T16" fmla="*/ 0 w 365"/>
                  <a:gd name="T17" fmla="*/ 146 h 146"/>
                  <a:gd name="T18" fmla="*/ 365 w 365"/>
                  <a:gd name="T19" fmla="*/ 146 h 146"/>
                  <a:gd name="T20" fmla="*/ 343 w 365"/>
                  <a:gd name="T21" fmla="*/ 8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146">
                    <a:moveTo>
                      <a:pt x="343" y="82"/>
                    </a:moveTo>
                    <a:lnTo>
                      <a:pt x="343" y="82"/>
                    </a:lnTo>
                    <a:cubicBezTo>
                      <a:pt x="333" y="64"/>
                      <a:pt x="320" y="49"/>
                      <a:pt x="304" y="36"/>
                    </a:cubicBezTo>
                    <a:cubicBezTo>
                      <a:pt x="288" y="24"/>
                      <a:pt x="270" y="15"/>
                      <a:pt x="250" y="9"/>
                    </a:cubicBezTo>
                    <a:cubicBezTo>
                      <a:pt x="229" y="3"/>
                      <a:pt x="207" y="0"/>
                      <a:pt x="183" y="0"/>
                    </a:cubicBezTo>
                    <a:cubicBezTo>
                      <a:pt x="159" y="0"/>
                      <a:pt x="136" y="3"/>
                      <a:pt x="116" y="9"/>
                    </a:cubicBezTo>
                    <a:cubicBezTo>
                      <a:pt x="96" y="15"/>
                      <a:pt x="77" y="24"/>
                      <a:pt x="62" y="36"/>
                    </a:cubicBezTo>
                    <a:cubicBezTo>
                      <a:pt x="46" y="49"/>
                      <a:pt x="33" y="64"/>
                      <a:pt x="22" y="82"/>
                    </a:cubicBezTo>
                    <a:cubicBezTo>
                      <a:pt x="12" y="101"/>
                      <a:pt x="5" y="122"/>
                      <a:pt x="0" y="146"/>
                    </a:cubicBezTo>
                    <a:lnTo>
                      <a:pt x="365" y="146"/>
                    </a:lnTo>
                    <a:cubicBezTo>
                      <a:pt x="361" y="122"/>
                      <a:pt x="354" y="101"/>
                      <a:pt x="343" y="82"/>
                    </a:cubicBezTo>
                    <a:close/>
                  </a:path>
                </a:pathLst>
              </a:custGeom>
              <a:solidFill>
                <a:schemeClr val="accent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0" name="Freeform 71">
                <a:extLst>
                  <a:ext uri="{FF2B5EF4-FFF2-40B4-BE49-F238E27FC236}">
                    <a16:creationId xmlns:a16="http://schemas.microsoft.com/office/drawing/2014/main" id="{5E1A122A-9ABE-4A8C-A7DD-17D0DC6B27AC}"/>
                  </a:ext>
                </a:extLst>
              </p:cNvPr>
              <p:cNvSpPr>
                <a:spLocks/>
              </p:cNvSpPr>
              <p:nvPr/>
            </p:nvSpPr>
            <p:spPr bwMode="auto">
              <a:xfrm>
                <a:off x="2997" y="390"/>
                <a:ext cx="91" cy="60"/>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rgbClr val="5C005C"/>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32" name="TextBox 31">
            <a:extLst>
              <a:ext uri="{FF2B5EF4-FFF2-40B4-BE49-F238E27FC236}">
                <a16:creationId xmlns:a16="http://schemas.microsoft.com/office/drawing/2014/main" id="{F35ED649-4186-45AB-9EB8-7A18BD6F5DCB}"/>
              </a:ext>
            </a:extLst>
          </p:cNvPr>
          <p:cNvSpPr txBox="1"/>
          <p:nvPr/>
        </p:nvSpPr>
        <p:spPr>
          <a:xfrm>
            <a:off x="8926975" y="5330255"/>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5">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14" name="Group 13">
            <a:extLst>
              <a:ext uri="{FF2B5EF4-FFF2-40B4-BE49-F238E27FC236}">
                <a16:creationId xmlns:a16="http://schemas.microsoft.com/office/drawing/2014/main" id="{DD6D77A3-B7FA-4F22-8E58-6BADE5544D7A}"/>
              </a:ext>
            </a:extLst>
          </p:cNvPr>
          <p:cNvGrpSpPr/>
          <p:nvPr/>
        </p:nvGrpSpPr>
        <p:grpSpPr>
          <a:xfrm>
            <a:off x="10907454" y="5235499"/>
            <a:ext cx="407691" cy="412355"/>
            <a:chOff x="11165184" y="5588954"/>
            <a:chExt cx="407691" cy="412355"/>
          </a:xfrm>
        </p:grpSpPr>
        <p:sp>
          <p:nvSpPr>
            <p:cNvPr id="43" name="Oval 42">
              <a:extLst>
                <a:ext uri="{FF2B5EF4-FFF2-40B4-BE49-F238E27FC236}">
                  <a16:creationId xmlns:a16="http://schemas.microsoft.com/office/drawing/2014/main" id="{951316B6-E87D-402D-AC5E-707E73B2B2D1}"/>
                </a:ext>
              </a:extLst>
            </p:cNvPr>
            <p:cNvSpPr/>
            <p:nvPr/>
          </p:nvSpPr>
          <p:spPr bwMode="auto">
            <a:xfrm rot="5400000">
              <a:off x="11162852" y="5591286"/>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6" name="Group 5">
              <a:extLst>
                <a:ext uri="{FF2B5EF4-FFF2-40B4-BE49-F238E27FC236}">
                  <a16:creationId xmlns:a16="http://schemas.microsoft.com/office/drawing/2014/main" id="{D38C2B96-A1D8-483E-A11E-BD1B0868F206}"/>
                </a:ext>
              </a:extLst>
            </p:cNvPr>
            <p:cNvGrpSpPr/>
            <p:nvPr/>
          </p:nvGrpSpPr>
          <p:grpSpPr>
            <a:xfrm>
              <a:off x="11277026" y="5703129"/>
              <a:ext cx="184003" cy="184004"/>
              <a:chOff x="6263456" y="6127229"/>
              <a:chExt cx="346387" cy="346388"/>
            </a:xfrm>
          </p:grpSpPr>
          <p:sp>
            <p:nvSpPr>
              <p:cNvPr id="105" name="Freeform: Shape 104">
                <a:extLst>
                  <a:ext uri="{FF2B5EF4-FFF2-40B4-BE49-F238E27FC236}">
                    <a16:creationId xmlns:a16="http://schemas.microsoft.com/office/drawing/2014/main" id="{5D187207-619E-442A-87DE-1E3459E9C354}"/>
                  </a:ext>
                </a:extLst>
              </p:cNvPr>
              <p:cNvSpPr/>
              <p:nvPr/>
            </p:nvSpPr>
            <p:spPr bwMode="auto">
              <a:xfrm rot="16200000">
                <a:off x="6263456" y="6127229"/>
                <a:ext cx="346388" cy="346387"/>
              </a:xfrm>
              <a:custGeom>
                <a:avLst/>
                <a:gdLst>
                  <a:gd name="connsiteX0" fmla="*/ 130975 w 346388"/>
                  <a:gd name="connsiteY0" fmla="*/ 219590 h 346387"/>
                  <a:gd name="connsiteX1" fmla="*/ 118577 w 346388"/>
                  <a:gd name="connsiteY1" fmla="*/ 219590 h 346387"/>
                  <a:gd name="connsiteX2" fmla="*/ 118577 w 346388"/>
                  <a:gd name="connsiteY2" fmla="*/ 231989 h 346387"/>
                  <a:gd name="connsiteX3" fmla="*/ 130975 w 346388"/>
                  <a:gd name="connsiteY3" fmla="*/ 231989 h 346387"/>
                  <a:gd name="connsiteX4" fmla="*/ 130975 w 346388"/>
                  <a:gd name="connsiteY4" fmla="*/ 184099 h 346387"/>
                  <a:gd name="connsiteX5" fmla="*/ 118577 w 346388"/>
                  <a:gd name="connsiteY5" fmla="*/ 184099 h 346387"/>
                  <a:gd name="connsiteX6" fmla="*/ 118577 w 346388"/>
                  <a:gd name="connsiteY6" fmla="*/ 196498 h 346387"/>
                  <a:gd name="connsiteX7" fmla="*/ 130975 w 346388"/>
                  <a:gd name="connsiteY7" fmla="*/ 196498 h 346387"/>
                  <a:gd name="connsiteX8" fmla="*/ 130975 w 346388"/>
                  <a:gd name="connsiteY8" fmla="*/ 148609 h 346387"/>
                  <a:gd name="connsiteX9" fmla="*/ 118577 w 346388"/>
                  <a:gd name="connsiteY9" fmla="*/ 148609 h 346387"/>
                  <a:gd name="connsiteX10" fmla="*/ 118577 w 346388"/>
                  <a:gd name="connsiteY10" fmla="*/ 161007 h 346387"/>
                  <a:gd name="connsiteX11" fmla="*/ 130975 w 346388"/>
                  <a:gd name="connsiteY11" fmla="*/ 161007 h 346387"/>
                  <a:gd name="connsiteX12" fmla="*/ 130975 w 346388"/>
                  <a:gd name="connsiteY12" fmla="*/ 113118 h 346387"/>
                  <a:gd name="connsiteX13" fmla="*/ 118577 w 346388"/>
                  <a:gd name="connsiteY13" fmla="*/ 113118 h 346387"/>
                  <a:gd name="connsiteX14" fmla="*/ 118577 w 346388"/>
                  <a:gd name="connsiteY14" fmla="*/ 125517 h 346387"/>
                  <a:gd name="connsiteX15" fmla="*/ 130975 w 346388"/>
                  <a:gd name="connsiteY15" fmla="*/ 125517 h 346387"/>
                  <a:gd name="connsiteX16" fmla="*/ 166466 w 346388"/>
                  <a:gd name="connsiteY16" fmla="*/ 219590 h 346387"/>
                  <a:gd name="connsiteX17" fmla="*/ 154067 w 346388"/>
                  <a:gd name="connsiteY17" fmla="*/ 219590 h 346387"/>
                  <a:gd name="connsiteX18" fmla="*/ 154067 w 346388"/>
                  <a:gd name="connsiteY18" fmla="*/ 231989 h 346387"/>
                  <a:gd name="connsiteX19" fmla="*/ 166466 w 346388"/>
                  <a:gd name="connsiteY19" fmla="*/ 231989 h 346387"/>
                  <a:gd name="connsiteX20" fmla="*/ 166466 w 346388"/>
                  <a:gd name="connsiteY20" fmla="*/ 184099 h 346387"/>
                  <a:gd name="connsiteX21" fmla="*/ 154067 w 346388"/>
                  <a:gd name="connsiteY21" fmla="*/ 184099 h 346387"/>
                  <a:gd name="connsiteX22" fmla="*/ 154067 w 346388"/>
                  <a:gd name="connsiteY22" fmla="*/ 196498 h 346387"/>
                  <a:gd name="connsiteX23" fmla="*/ 166466 w 346388"/>
                  <a:gd name="connsiteY23" fmla="*/ 196498 h 346387"/>
                  <a:gd name="connsiteX24" fmla="*/ 166466 w 346388"/>
                  <a:gd name="connsiteY24" fmla="*/ 148609 h 346387"/>
                  <a:gd name="connsiteX25" fmla="*/ 154067 w 346388"/>
                  <a:gd name="connsiteY25" fmla="*/ 148609 h 346387"/>
                  <a:gd name="connsiteX26" fmla="*/ 154067 w 346388"/>
                  <a:gd name="connsiteY26" fmla="*/ 161007 h 346387"/>
                  <a:gd name="connsiteX27" fmla="*/ 166466 w 346388"/>
                  <a:gd name="connsiteY27" fmla="*/ 161007 h 346387"/>
                  <a:gd name="connsiteX28" fmla="*/ 166466 w 346388"/>
                  <a:gd name="connsiteY28" fmla="*/ 113118 h 346387"/>
                  <a:gd name="connsiteX29" fmla="*/ 154067 w 346388"/>
                  <a:gd name="connsiteY29" fmla="*/ 113118 h 346387"/>
                  <a:gd name="connsiteX30" fmla="*/ 154067 w 346388"/>
                  <a:gd name="connsiteY30" fmla="*/ 125517 h 346387"/>
                  <a:gd name="connsiteX31" fmla="*/ 166466 w 346388"/>
                  <a:gd name="connsiteY31" fmla="*/ 125517 h 346387"/>
                  <a:gd name="connsiteX32" fmla="*/ 201957 w 346388"/>
                  <a:gd name="connsiteY32" fmla="*/ 219590 h 346387"/>
                  <a:gd name="connsiteX33" fmla="*/ 189558 w 346388"/>
                  <a:gd name="connsiteY33" fmla="*/ 219590 h 346387"/>
                  <a:gd name="connsiteX34" fmla="*/ 189558 w 346388"/>
                  <a:gd name="connsiteY34" fmla="*/ 231989 h 346387"/>
                  <a:gd name="connsiteX35" fmla="*/ 201957 w 346388"/>
                  <a:gd name="connsiteY35" fmla="*/ 231989 h 346387"/>
                  <a:gd name="connsiteX36" fmla="*/ 201957 w 346388"/>
                  <a:gd name="connsiteY36" fmla="*/ 184099 h 346387"/>
                  <a:gd name="connsiteX37" fmla="*/ 189558 w 346388"/>
                  <a:gd name="connsiteY37" fmla="*/ 184099 h 346387"/>
                  <a:gd name="connsiteX38" fmla="*/ 189558 w 346388"/>
                  <a:gd name="connsiteY38" fmla="*/ 196498 h 346387"/>
                  <a:gd name="connsiteX39" fmla="*/ 201957 w 346388"/>
                  <a:gd name="connsiteY39" fmla="*/ 196498 h 346387"/>
                  <a:gd name="connsiteX40" fmla="*/ 201957 w 346388"/>
                  <a:gd name="connsiteY40" fmla="*/ 148609 h 346387"/>
                  <a:gd name="connsiteX41" fmla="*/ 189558 w 346388"/>
                  <a:gd name="connsiteY41" fmla="*/ 148609 h 346387"/>
                  <a:gd name="connsiteX42" fmla="*/ 189558 w 346388"/>
                  <a:gd name="connsiteY42" fmla="*/ 161007 h 346387"/>
                  <a:gd name="connsiteX43" fmla="*/ 201957 w 346388"/>
                  <a:gd name="connsiteY43" fmla="*/ 161007 h 346387"/>
                  <a:gd name="connsiteX44" fmla="*/ 201957 w 346388"/>
                  <a:gd name="connsiteY44" fmla="*/ 113118 h 346387"/>
                  <a:gd name="connsiteX45" fmla="*/ 189558 w 346388"/>
                  <a:gd name="connsiteY45" fmla="*/ 113118 h 346387"/>
                  <a:gd name="connsiteX46" fmla="*/ 189558 w 346388"/>
                  <a:gd name="connsiteY46" fmla="*/ 125517 h 346387"/>
                  <a:gd name="connsiteX47" fmla="*/ 201957 w 346388"/>
                  <a:gd name="connsiteY47" fmla="*/ 125517 h 346387"/>
                  <a:gd name="connsiteX48" fmla="*/ 237447 w 346388"/>
                  <a:gd name="connsiteY48" fmla="*/ 219590 h 346387"/>
                  <a:gd name="connsiteX49" fmla="*/ 225049 w 346388"/>
                  <a:gd name="connsiteY49" fmla="*/ 219590 h 346387"/>
                  <a:gd name="connsiteX50" fmla="*/ 225049 w 346388"/>
                  <a:gd name="connsiteY50" fmla="*/ 231989 h 346387"/>
                  <a:gd name="connsiteX51" fmla="*/ 237447 w 346388"/>
                  <a:gd name="connsiteY51" fmla="*/ 231989 h 346387"/>
                  <a:gd name="connsiteX52" fmla="*/ 237447 w 346388"/>
                  <a:gd name="connsiteY52" fmla="*/ 184099 h 346387"/>
                  <a:gd name="connsiteX53" fmla="*/ 225049 w 346388"/>
                  <a:gd name="connsiteY53" fmla="*/ 184099 h 346387"/>
                  <a:gd name="connsiteX54" fmla="*/ 225049 w 346388"/>
                  <a:gd name="connsiteY54" fmla="*/ 196498 h 346387"/>
                  <a:gd name="connsiteX55" fmla="*/ 237447 w 346388"/>
                  <a:gd name="connsiteY55" fmla="*/ 196498 h 346387"/>
                  <a:gd name="connsiteX56" fmla="*/ 237447 w 346388"/>
                  <a:gd name="connsiteY56" fmla="*/ 148609 h 346387"/>
                  <a:gd name="connsiteX57" fmla="*/ 225049 w 346388"/>
                  <a:gd name="connsiteY57" fmla="*/ 148609 h 346387"/>
                  <a:gd name="connsiteX58" fmla="*/ 225049 w 346388"/>
                  <a:gd name="connsiteY58" fmla="*/ 161007 h 346387"/>
                  <a:gd name="connsiteX59" fmla="*/ 237447 w 346388"/>
                  <a:gd name="connsiteY59" fmla="*/ 161007 h 346387"/>
                  <a:gd name="connsiteX60" fmla="*/ 237447 w 346388"/>
                  <a:gd name="connsiteY60" fmla="*/ 113118 h 346387"/>
                  <a:gd name="connsiteX61" fmla="*/ 225049 w 346388"/>
                  <a:gd name="connsiteY61" fmla="*/ 113118 h 346387"/>
                  <a:gd name="connsiteX62" fmla="*/ 225049 w 346388"/>
                  <a:gd name="connsiteY62" fmla="*/ 125517 h 346387"/>
                  <a:gd name="connsiteX63" fmla="*/ 237447 w 346388"/>
                  <a:gd name="connsiteY63" fmla="*/ 125517 h 346387"/>
                  <a:gd name="connsiteX64" fmla="*/ 346388 w 346388"/>
                  <a:gd name="connsiteY64" fmla="*/ 101572 h 346387"/>
                  <a:gd name="connsiteX65" fmla="*/ 334842 w 346388"/>
                  <a:gd name="connsiteY65" fmla="*/ 113118 h 346387"/>
                  <a:gd name="connsiteX66" fmla="*/ 260539 w 346388"/>
                  <a:gd name="connsiteY66" fmla="*/ 113118 h 346387"/>
                  <a:gd name="connsiteX67" fmla="*/ 260539 w 346388"/>
                  <a:gd name="connsiteY67" fmla="*/ 125517 h 346387"/>
                  <a:gd name="connsiteX68" fmla="*/ 334842 w 346388"/>
                  <a:gd name="connsiteY68" fmla="*/ 125517 h 346387"/>
                  <a:gd name="connsiteX69" fmla="*/ 346388 w 346388"/>
                  <a:gd name="connsiteY69" fmla="*/ 137063 h 346387"/>
                  <a:gd name="connsiteX70" fmla="*/ 334842 w 346388"/>
                  <a:gd name="connsiteY70" fmla="*/ 148609 h 346387"/>
                  <a:gd name="connsiteX71" fmla="*/ 260539 w 346388"/>
                  <a:gd name="connsiteY71" fmla="*/ 148609 h 346387"/>
                  <a:gd name="connsiteX72" fmla="*/ 260539 w 346388"/>
                  <a:gd name="connsiteY72" fmla="*/ 161007 h 346387"/>
                  <a:gd name="connsiteX73" fmla="*/ 334842 w 346388"/>
                  <a:gd name="connsiteY73" fmla="*/ 161007 h 346387"/>
                  <a:gd name="connsiteX74" fmla="*/ 346388 w 346388"/>
                  <a:gd name="connsiteY74" fmla="*/ 172553 h 346387"/>
                  <a:gd name="connsiteX75" fmla="*/ 334842 w 346388"/>
                  <a:gd name="connsiteY75" fmla="*/ 184099 h 346387"/>
                  <a:gd name="connsiteX76" fmla="*/ 260539 w 346388"/>
                  <a:gd name="connsiteY76" fmla="*/ 184099 h 346387"/>
                  <a:gd name="connsiteX77" fmla="*/ 260539 w 346388"/>
                  <a:gd name="connsiteY77" fmla="*/ 196498 h 346387"/>
                  <a:gd name="connsiteX78" fmla="*/ 334842 w 346388"/>
                  <a:gd name="connsiteY78" fmla="*/ 196498 h 346387"/>
                  <a:gd name="connsiteX79" fmla="*/ 346388 w 346388"/>
                  <a:gd name="connsiteY79" fmla="*/ 208044 h 346387"/>
                  <a:gd name="connsiteX80" fmla="*/ 334842 w 346388"/>
                  <a:gd name="connsiteY80" fmla="*/ 219590 h 346387"/>
                  <a:gd name="connsiteX81" fmla="*/ 260539 w 346388"/>
                  <a:gd name="connsiteY81" fmla="*/ 219590 h 346387"/>
                  <a:gd name="connsiteX82" fmla="*/ 260539 w 346388"/>
                  <a:gd name="connsiteY82" fmla="*/ 231989 h 346387"/>
                  <a:gd name="connsiteX83" fmla="*/ 334842 w 346388"/>
                  <a:gd name="connsiteY83" fmla="*/ 231989 h 346387"/>
                  <a:gd name="connsiteX84" fmla="*/ 346388 w 346388"/>
                  <a:gd name="connsiteY84" fmla="*/ 243535 h 346387"/>
                  <a:gd name="connsiteX85" fmla="*/ 334842 w 346388"/>
                  <a:gd name="connsiteY85" fmla="*/ 255081 h 346387"/>
                  <a:gd name="connsiteX86" fmla="*/ 260539 w 346388"/>
                  <a:gd name="connsiteY86" fmla="*/ 255081 h 346387"/>
                  <a:gd name="connsiteX87" fmla="*/ 260539 w 346388"/>
                  <a:gd name="connsiteY87" fmla="*/ 334841 h 346387"/>
                  <a:gd name="connsiteX88" fmla="*/ 248993 w 346388"/>
                  <a:gd name="connsiteY88" fmla="*/ 346387 h 346387"/>
                  <a:gd name="connsiteX89" fmla="*/ 237447 w 346388"/>
                  <a:gd name="connsiteY89" fmla="*/ 334841 h 346387"/>
                  <a:gd name="connsiteX90" fmla="*/ 237447 w 346388"/>
                  <a:gd name="connsiteY90" fmla="*/ 255081 h 346387"/>
                  <a:gd name="connsiteX91" fmla="*/ 225049 w 346388"/>
                  <a:gd name="connsiteY91" fmla="*/ 255081 h 346387"/>
                  <a:gd name="connsiteX92" fmla="*/ 225049 w 346388"/>
                  <a:gd name="connsiteY92" fmla="*/ 334841 h 346387"/>
                  <a:gd name="connsiteX93" fmla="*/ 213503 w 346388"/>
                  <a:gd name="connsiteY93" fmla="*/ 346387 h 346387"/>
                  <a:gd name="connsiteX94" fmla="*/ 201957 w 346388"/>
                  <a:gd name="connsiteY94" fmla="*/ 334841 h 346387"/>
                  <a:gd name="connsiteX95" fmla="*/ 201957 w 346388"/>
                  <a:gd name="connsiteY95" fmla="*/ 255081 h 346387"/>
                  <a:gd name="connsiteX96" fmla="*/ 189558 w 346388"/>
                  <a:gd name="connsiteY96" fmla="*/ 255081 h 346387"/>
                  <a:gd name="connsiteX97" fmla="*/ 189558 w 346388"/>
                  <a:gd name="connsiteY97" fmla="*/ 334841 h 346387"/>
                  <a:gd name="connsiteX98" fmla="*/ 178012 w 346388"/>
                  <a:gd name="connsiteY98" fmla="*/ 346387 h 346387"/>
                  <a:gd name="connsiteX99" fmla="*/ 166466 w 346388"/>
                  <a:gd name="connsiteY99" fmla="*/ 334841 h 346387"/>
                  <a:gd name="connsiteX100" fmla="*/ 166466 w 346388"/>
                  <a:gd name="connsiteY100" fmla="*/ 255081 h 346387"/>
                  <a:gd name="connsiteX101" fmla="*/ 154067 w 346388"/>
                  <a:gd name="connsiteY101" fmla="*/ 255081 h 346387"/>
                  <a:gd name="connsiteX102" fmla="*/ 154067 w 346388"/>
                  <a:gd name="connsiteY102" fmla="*/ 334841 h 346387"/>
                  <a:gd name="connsiteX103" fmla="*/ 142521 w 346388"/>
                  <a:gd name="connsiteY103" fmla="*/ 346387 h 346387"/>
                  <a:gd name="connsiteX104" fmla="*/ 130975 w 346388"/>
                  <a:gd name="connsiteY104" fmla="*/ 334841 h 346387"/>
                  <a:gd name="connsiteX105" fmla="*/ 130975 w 346388"/>
                  <a:gd name="connsiteY105" fmla="*/ 255081 h 346387"/>
                  <a:gd name="connsiteX106" fmla="*/ 118577 w 346388"/>
                  <a:gd name="connsiteY106" fmla="*/ 255081 h 346387"/>
                  <a:gd name="connsiteX107" fmla="*/ 118577 w 346388"/>
                  <a:gd name="connsiteY107" fmla="*/ 334841 h 346387"/>
                  <a:gd name="connsiteX108" fmla="*/ 107031 w 346388"/>
                  <a:gd name="connsiteY108" fmla="*/ 346387 h 346387"/>
                  <a:gd name="connsiteX109" fmla="*/ 95485 w 346388"/>
                  <a:gd name="connsiteY109" fmla="*/ 334841 h 346387"/>
                  <a:gd name="connsiteX110" fmla="*/ 95485 w 346388"/>
                  <a:gd name="connsiteY110" fmla="*/ 255081 h 346387"/>
                  <a:gd name="connsiteX111" fmla="*/ 11546 w 346388"/>
                  <a:gd name="connsiteY111" fmla="*/ 255081 h 346387"/>
                  <a:gd name="connsiteX112" fmla="*/ 0 w 346388"/>
                  <a:gd name="connsiteY112" fmla="*/ 243535 h 346387"/>
                  <a:gd name="connsiteX113" fmla="*/ 11546 w 346388"/>
                  <a:gd name="connsiteY113" fmla="*/ 231989 h 346387"/>
                  <a:gd name="connsiteX114" fmla="*/ 95485 w 346388"/>
                  <a:gd name="connsiteY114" fmla="*/ 231989 h 346387"/>
                  <a:gd name="connsiteX115" fmla="*/ 95485 w 346388"/>
                  <a:gd name="connsiteY115" fmla="*/ 219590 h 346387"/>
                  <a:gd name="connsiteX116" fmla="*/ 11546 w 346388"/>
                  <a:gd name="connsiteY116" fmla="*/ 219590 h 346387"/>
                  <a:gd name="connsiteX117" fmla="*/ 0 w 346388"/>
                  <a:gd name="connsiteY117" fmla="*/ 208044 h 346387"/>
                  <a:gd name="connsiteX118" fmla="*/ 11546 w 346388"/>
                  <a:gd name="connsiteY118" fmla="*/ 196498 h 346387"/>
                  <a:gd name="connsiteX119" fmla="*/ 95485 w 346388"/>
                  <a:gd name="connsiteY119" fmla="*/ 196498 h 346387"/>
                  <a:gd name="connsiteX120" fmla="*/ 95485 w 346388"/>
                  <a:gd name="connsiteY120" fmla="*/ 184099 h 346387"/>
                  <a:gd name="connsiteX121" fmla="*/ 11546 w 346388"/>
                  <a:gd name="connsiteY121" fmla="*/ 184099 h 346387"/>
                  <a:gd name="connsiteX122" fmla="*/ 0 w 346388"/>
                  <a:gd name="connsiteY122" fmla="*/ 172553 h 346387"/>
                  <a:gd name="connsiteX123" fmla="*/ 11546 w 346388"/>
                  <a:gd name="connsiteY123" fmla="*/ 161007 h 346387"/>
                  <a:gd name="connsiteX124" fmla="*/ 95485 w 346388"/>
                  <a:gd name="connsiteY124" fmla="*/ 161007 h 346387"/>
                  <a:gd name="connsiteX125" fmla="*/ 95485 w 346388"/>
                  <a:gd name="connsiteY125" fmla="*/ 148609 h 346387"/>
                  <a:gd name="connsiteX126" fmla="*/ 11546 w 346388"/>
                  <a:gd name="connsiteY126" fmla="*/ 148609 h 346387"/>
                  <a:gd name="connsiteX127" fmla="*/ 0 w 346388"/>
                  <a:gd name="connsiteY127" fmla="*/ 137063 h 346387"/>
                  <a:gd name="connsiteX128" fmla="*/ 11546 w 346388"/>
                  <a:gd name="connsiteY128" fmla="*/ 125517 h 346387"/>
                  <a:gd name="connsiteX129" fmla="*/ 95485 w 346388"/>
                  <a:gd name="connsiteY129" fmla="*/ 125517 h 346387"/>
                  <a:gd name="connsiteX130" fmla="*/ 95485 w 346388"/>
                  <a:gd name="connsiteY130" fmla="*/ 113118 h 346387"/>
                  <a:gd name="connsiteX131" fmla="*/ 11546 w 346388"/>
                  <a:gd name="connsiteY131" fmla="*/ 113118 h 346387"/>
                  <a:gd name="connsiteX132" fmla="*/ 0 w 346388"/>
                  <a:gd name="connsiteY132" fmla="*/ 101572 h 346387"/>
                  <a:gd name="connsiteX133" fmla="*/ 11546 w 346388"/>
                  <a:gd name="connsiteY133" fmla="*/ 90026 h 346387"/>
                  <a:gd name="connsiteX134" fmla="*/ 95485 w 346388"/>
                  <a:gd name="connsiteY134" fmla="*/ 90026 h 346387"/>
                  <a:gd name="connsiteX135" fmla="*/ 95485 w 346388"/>
                  <a:gd name="connsiteY135" fmla="*/ 11546 h 346387"/>
                  <a:gd name="connsiteX136" fmla="*/ 107031 w 346388"/>
                  <a:gd name="connsiteY136" fmla="*/ 0 h 346387"/>
                  <a:gd name="connsiteX137" fmla="*/ 118577 w 346388"/>
                  <a:gd name="connsiteY137" fmla="*/ 11546 h 346387"/>
                  <a:gd name="connsiteX138" fmla="*/ 118577 w 346388"/>
                  <a:gd name="connsiteY138" fmla="*/ 90026 h 346387"/>
                  <a:gd name="connsiteX139" fmla="*/ 130975 w 346388"/>
                  <a:gd name="connsiteY139" fmla="*/ 90026 h 346387"/>
                  <a:gd name="connsiteX140" fmla="*/ 130975 w 346388"/>
                  <a:gd name="connsiteY140" fmla="*/ 11546 h 346387"/>
                  <a:gd name="connsiteX141" fmla="*/ 142521 w 346388"/>
                  <a:gd name="connsiteY141" fmla="*/ 0 h 346387"/>
                  <a:gd name="connsiteX142" fmla="*/ 154067 w 346388"/>
                  <a:gd name="connsiteY142" fmla="*/ 11546 h 346387"/>
                  <a:gd name="connsiteX143" fmla="*/ 154067 w 346388"/>
                  <a:gd name="connsiteY143" fmla="*/ 90026 h 346387"/>
                  <a:gd name="connsiteX144" fmla="*/ 166466 w 346388"/>
                  <a:gd name="connsiteY144" fmla="*/ 90026 h 346387"/>
                  <a:gd name="connsiteX145" fmla="*/ 166466 w 346388"/>
                  <a:gd name="connsiteY145" fmla="*/ 11546 h 346387"/>
                  <a:gd name="connsiteX146" fmla="*/ 178012 w 346388"/>
                  <a:gd name="connsiteY146" fmla="*/ 0 h 346387"/>
                  <a:gd name="connsiteX147" fmla="*/ 189558 w 346388"/>
                  <a:gd name="connsiteY147" fmla="*/ 11546 h 346387"/>
                  <a:gd name="connsiteX148" fmla="*/ 189558 w 346388"/>
                  <a:gd name="connsiteY148" fmla="*/ 90026 h 346387"/>
                  <a:gd name="connsiteX149" fmla="*/ 201957 w 346388"/>
                  <a:gd name="connsiteY149" fmla="*/ 90026 h 346387"/>
                  <a:gd name="connsiteX150" fmla="*/ 201957 w 346388"/>
                  <a:gd name="connsiteY150" fmla="*/ 11546 h 346387"/>
                  <a:gd name="connsiteX151" fmla="*/ 213503 w 346388"/>
                  <a:gd name="connsiteY151" fmla="*/ 0 h 346387"/>
                  <a:gd name="connsiteX152" fmla="*/ 225049 w 346388"/>
                  <a:gd name="connsiteY152" fmla="*/ 11546 h 346387"/>
                  <a:gd name="connsiteX153" fmla="*/ 225049 w 346388"/>
                  <a:gd name="connsiteY153" fmla="*/ 90026 h 346387"/>
                  <a:gd name="connsiteX154" fmla="*/ 237447 w 346388"/>
                  <a:gd name="connsiteY154" fmla="*/ 90026 h 346387"/>
                  <a:gd name="connsiteX155" fmla="*/ 237447 w 346388"/>
                  <a:gd name="connsiteY155" fmla="*/ 11546 h 346387"/>
                  <a:gd name="connsiteX156" fmla="*/ 248993 w 346388"/>
                  <a:gd name="connsiteY156" fmla="*/ 0 h 346387"/>
                  <a:gd name="connsiteX157" fmla="*/ 260539 w 346388"/>
                  <a:gd name="connsiteY157" fmla="*/ 11546 h 346387"/>
                  <a:gd name="connsiteX158" fmla="*/ 260539 w 346388"/>
                  <a:gd name="connsiteY158" fmla="*/ 90026 h 346387"/>
                  <a:gd name="connsiteX159" fmla="*/ 334842 w 346388"/>
                  <a:gd name="connsiteY159" fmla="*/ 90026 h 346387"/>
                  <a:gd name="connsiteX160" fmla="*/ 346388 w 346388"/>
                  <a:gd name="connsiteY160" fmla="*/ 101572 h 346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346388" h="346387">
                    <a:moveTo>
                      <a:pt x="130975" y="219590"/>
                    </a:moveTo>
                    <a:lnTo>
                      <a:pt x="118577" y="219590"/>
                    </a:lnTo>
                    <a:lnTo>
                      <a:pt x="118577" y="231989"/>
                    </a:lnTo>
                    <a:lnTo>
                      <a:pt x="130975" y="231989"/>
                    </a:lnTo>
                    <a:close/>
                    <a:moveTo>
                      <a:pt x="130975" y="184099"/>
                    </a:moveTo>
                    <a:lnTo>
                      <a:pt x="118577" y="184099"/>
                    </a:lnTo>
                    <a:lnTo>
                      <a:pt x="118577" y="196498"/>
                    </a:lnTo>
                    <a:lnTo>
                      <a:pt x="130975" y="196498"/>
                    </a:lnTo>
                    <a:close/>
                    <a:moveTo>
                      <a:pt x="130975" y="148609"/>
                    </a:moveTo>
                    <a:lnTo>
                      <a:pt x="118577" y="148609"/>
                    </a:lnTo>
                    <a:lnTo>
                      <a:pt x="118577" y="161007"/>
                    </a:lnTo>
                    <a:lnTo>
                      <a:pt x="130975" y="161007"/>
                    </a:lnTo>
                    <a:close/>
                    <a:moveTo>
                      <a:pt x="130975" y="113118"/>
                    </a:moveTo>
                    <a:lnTo>
                      <a:pt x="118577" y="113118"/>
                    </a:lnTo>
                    <a:lnTo>
                      <a:pt x="118577" y="125517"/>
                    </a:lnTo>
                    <a:lnTo>
                      <a:pt x="130975" y="125517"/>
                    </a:lnTo>
                    <a:close/>
                    <a:moveTo>
                      <a:pt x="166466" y="219590"/>
                    </a:moveTo>
                    <a:lnTo>
                      <a:pt x="154067" y="219590"/>
                    </a:lnTo>
                    <a:lnTo>
                      <a:pt x="154067" y="231989"/>
                    </a:lnTo>
                    <a:lnTo>
                      <a:pt x="166466" y="231989"/>
                    </a:lnTo>
                    <a:close/>
                    <a:moveTo>
                      <a:pt x="166466" y="184099"/>
                    </a:moveTo>
                    <a:lnTo>
                      <a:pt x="154067" y="184099"/>
                    </a:lnTo>
                    <a:lnTo>
                      <a:pt x="154067" y="196498"/>
                    </a:lnTo>
                    <a:lnTo>
                      <a:pt x="166466" y="196498"/>
                    </a:lnTo>
                    <a:close/>
                    <a:moveTo>
                      <a:pt x="166466" y="148609"/>
                    </a:moveTo>
                    <a:lnTo>
                      <a:pt x="154067" y="148609"/>
                    </a:lnTo>
                    <a:lnTo>
                      <a:pt x="154067" y="161007"/>
                    </a:lnTo>
                    <a:lnTo>
                      <a:pt x="166466" y="161007"/>
                    </a:lnTo>
                    <a:close/>
                    <a:moveTo>
                      <a:pt x="166466" y="113118"/>
                    </a:moveTo>
                    <a:lnTo>
                      <a:pt x="154067" y="113118"/>
                    </a:lnTo>
                    <a:lnTo>
                      <a:pt x="154067" y="125517"/>
                    </a:lnTo>
                    <a:lnTo>
                      <a:pt x="166466" y="125517"/>
                    </a:lnTo>
                    <a:close/>
                    <a:moveTo>
                      <a:pt x="201957" y="219590"/>
                    </a:moveTo>
                    <a:lnTo>
                      <a:pt x="189558" y="219590"/>
                    </a:lnTo>
                    <a:lnTo>
                      <a:pt x="189558" y="231989"/>
                    </a:lnTo>
                    <a:lnTo>
                      <a:pt x="201957" y="231989"/>
                    </a:lnTo>
                    <a:close/>
                    <a:moveTo>
                      <a:pt x="201957" y="184099"/>
                    </a:moveTo>
                    <a:lnTo>
                      <a:pt x="189558" y="184099"/>
                    </a:lnTo>
                    <a:lnTo>
                      <a:pt x="189558" y="196498"/>
                    </a:lnTo>
                    <a:lnTo>
                      <a:pt x="201957" y="196498"/>
                    </a:lnTo>
                    <a:close/>
                    <a:moveTo>
                      <a:pt x="201957" y="148609"/>
                    </a:moveTo>
                    <a:lnTo>
                      <a:pt x="189558" y="148609"/>
                    </a:lnTo>
                    <a:lnTo>
                      <a:pt x="189558" y="161007"/>
                    </a:lnTo>
                    <a:lnTo>
                      <a:pt x="201957" y="161007"/>
                    </a:lnTo>
                    <a:close/>
                    <a:moveTo>
                      <a:pt x="201957" y="113118"/>
                    </a:moveTo>
                    <a:lnTo>
                      <a:pt x="189558" y="113118"/>
                    </a:lnTo>
                    <a:lnTo>
                      <a:pt x="189558" y="125517"/>
                    </a:lnTo>
                    <a:lnTo>
                      <a:pt x="201957" y="125517"/>
                    </a:lnTo>
                    <a:close/>
                    <a:moveTo>
                      <a:pt x="237447" y="219590"/>
                    </a:moveTo>
                    <a:lnTo>
                      <a:pt x="225049" y="219590"/>
                    </a:lnTo>
                    <a:lnTo>
                      <a:pt x="225049" y="231989"/>
                    </a:lnTo>
                    <a:lnTo>
                      <a:pt x="237447" y="231989"/>
                    </a:lnTo>
                    <a:close/>
                    <a:moveTo>
                      <a:pt x="237447" y="184099"/>
                    </a:moveTo>
                    <a:lnTo>
                      <a:pt x="225049" y="184099"/>
                    </a:lnTo>
                    <a:lnTo>
                      <a:pt x="225049" y="196498"/>
                    </a:lnTo>
                    <a:lnTo>
                      <a:pt x="237447" y="196498"/>
                    </a:lnTo>
                    <a:close/>
                    <a:moveTo>
                      <a:pt x="237447" y="148609"/>
                    </a:moveTo>
                    <a:lnTo>
                      <a:pt x="225049" y="148609"/>
                    </a:lnTo>
                    <a:lnTo>
                      <a:pt x="225049" y="161007"/>
                    </a:lnTo>
                    <a:lnTo>
                      <a:pt x="237447" y="161007"/>
                    </a:lnTo>
                    <a:close/>
                    <a:moveTo>
                      <a:pt x="237447" y="113118"/>
                    </a:moveTo>
                    <a:lnTo>
                      <a:pt x="225049" y="113118"/>
                    </a:lnTo>
                    <a:lnTo>
                      <a:pt x="225049" y="125517"/>
                    </a:lnTo>
                    <a:lnTo>
                      <a:pt x="237447" y="125517"/>
                    </a:lnTo>
                    <a:close/>
                    <a:moveTo>
                      <a:pt x="346388" y="101572"/>
                    </a:moveTo>
                    <a:cubicBezTo>
                      <a:pt x="346388" y="107949"/>
                      <a:pt x="341219" y="113118"/>
                      <a:pt x="334842" y="113118"/>
                    </a:cubicBezTo>
                    <a:lnTo>
                      <a:pt x="260539" y="113118"/>
                    </a:lnTo>
                    <a:lnTo>
                      <a:pt x="260539" y="125517"/>
                    </a:lnTo>
                    <a:lnTo>
                      <a:pt x="334842" y="125517"/>
                    </a:lnTo>
                    <a:cubicBezTo>
                      <a:pt x="341219" y="125517"/>
                      <a:pt x="346388" y="130686"/>
                      <a:pt x="346388" y="137063"/>
                    </a:cubicBezTo>
                    <a:cubicBezTo>
                      <a:pt x="346388" y="143440"/>
                      <a:pt x="341219" y="148609"/>
                      <a:pt x="334842" y="148609"/>
                    </a:cubicBezTo>
                    <a:lnTo>
                      <a:pt x="260539" y="148609"/>
                    </a:lnTo>
                    <a:lnTo>
                      <a:pt x="260539" y="161007"/>
                    </a:lnTo>
                    <a:lnTo>
                      <a:pt x="334842" y="161007"/>
                    </a:lnTo>
                    <a:cubicBezTo>
                      <a:pt x="341219" y="161007"/>
                      <a:pt x="346388" y="166176"/>
                      <a:pt x="346388" y="172553"/>
                    </a:cubicBezTo>
                    <a:cubicBezTo>
                      <a:pt x="346388" y="178930"/>
                      <a:pt x="341219" y="184099"/>
                      <a:pt x="334842" y="184099"/>
                    </a:cubicBezTo>
                    <a:lnTo>
                      <a:pt x="260539" y="184099"/>
                    </a:lnTo>
                    <a:lnTo>
                      <a:pt x="260539" y="196498"/>
                    </a:lnTo>
                    <a:lnTo>
                      <a:pt x="334842" y="196498"/>
                    </a:lnTo>
                    <a:cubicBezTo>
                      <a:pt x="341219" y="196498"/>
                      <a:pt x="346388" y="201667"/>
                      <a:pt x="346388" y="208044"/>
                    </a:cubicBezTo>
                    <a:cubicBezTo>
                      <a:pt x="346388" y="214421"/>
                      <a:pt x="341219" y="219590"/>
                      <a:pt x="334842" y="219590"/>
                    </a:cubicBezTo>
                    <a:lnTo>
                      <a:pt x="260539" y="219590"/>
                    </a:lnTo>
                    <a:lnTo>
                      <a:pt x="260539" y="231989"/>
                    </a:lnTo>
                    <a:lnTo>
                      <a:pt x="334842" y="231989"/>
                    </a:lnTo>
                    <a:cubicBezTo>
                      <a:pt x="341219" y="231989"/>
                      <a:pt x="346388" y="237158"/>
                      <a:pt x="346388" y="243535"/>
                    </a:cubicBezTo>
                    <a:cubicBezTo>
                      <a:pt x="346388" y="249912"/>
                      <a:pt x="341219" y="255081"/>
                      <a:pt x="334842" y="255081"/>
                    </a:cubicBezTo>
                    <a:lnTo>
                      <a:pt x="260539" y="255081"/>
                    </a:lnTo>
                    <a:lnTo>
                      <a:pt x="260539" y="334841"/>
                    </a:lnTo>
                    <a:cubicBezTo>
                      <a:pt x="260539" y="341218"/>
                      <a:pt x="255370" y="346387"/>
                      <a:pt x="248993" y="346387"/>
                    </a:cubicBezTo>
                    <a:cubicBezTo>
                      <a:pt x="242616" y="346387"/>
                      <a:pt x="237447" y="341218"/>
                      <a:pt x="237447" y="334841"/>
                    </a:cubicBezTo>
                    <a:lnTo>
                      <a:pt x="237447" y="255081"/>
                    </a:lnTo>
                    <a:lnTo>
                      <a:pt x="225049" y="255081"/>
                    </a:lnTo>
                    <a:lnTo>
                      <a:pt x="225049" y="334841"/>
                    </a:lnTo>
                    <a:cubicBezTo>
                      <a:pt x="225049" y="341218"/>
                      <a:pt x="219880" y="346387"/>
                      <a:pt x="213503" y="346387"/>
                    </a:cubicBezTo>
                    <a:cubicBezTo>
                      <a:pt x="207126" y="346387"/>
                      <a:pt x="201957" y="341218"/>
                      <a:pt x="201957" y="334841"/>
                    </a:cubicBezTo>
                    <a:lnTo>
                      <a:pt x="201957" y="255081"/>
                    </a:lnTo>
                    <a:lnTo>
                      <a:pt x="189558" y="255081"/>
                    </a:lnTo>
                    <a:lnTo>
                      <a:pt x="189558" y="334841"/>
                    </a:lnTo>
                    <a:cubicBezTo>
                      <a:pt x="189558" y="341218"/>
                      <a:pt x="184389" y="346387"/>
                      <a:pt x="178012" y="346387"/>
                    </a:cubicBezTo>
                    <a:cubicBezTo>
                      <a:pt x="171635" y="346387"/>
                      <a:pt x="166466" y="341218"/>
                      <a:pt x="166466" y="334841"/>
                    </a:cubicBezTo>
                    <a:lnTo>
                      <a:pt x="166466" y="255081"/>
                    </a:lnTo>
                    <a:lnTo>
                      <a:pt x="154067" y="255081"/>
                    </a:lnTo>
                    <a:lnTo>
                      <a:pt x="154067" y="334841"/>
                    </a:lnTo>
                    <a:cubicBezTo>
                      <a:pt x="154067" y="341218"/>
                      <a:pt x="148898" y="346387"/>
                      <a:pt x="142521" y="346387"/>
                    </a:cubicBezTo>
                    <a:cubicBezTo>
                      <a:pt x="136144" y="346387"/>
                      <a:pt x="130975" y="341218"/>
                      <a:pt x="130975" y="334841"/>
                    </a:cubicBezTo>
                    <a:lnTo>
                      <a:pt x="130975" y="255081"/>
                    </a:lnTo>
                    <a:lnTo>
                      <a:pt x="118577" y="255081"/>
                    </a:lnTo>
                    <a:lnTo>
                      <a:pt x="118577" y="334841"/>
                    </a:lnTo>
                    <a:cubicBezTo>
                      <a:pt x="118577" y="341218"/>
                      <a:pt x="113408" y="346387"/>
                      <a:pt x="107031" y="346387"/>
                    </a:cubicBezTo>
                    <a:cubicBezTo>
                      <a:pt x="100654" y="346387"/>
                      <a:pt x="95485" y="341218"/>
                      <a:pt x="95485" y="334841"/>
                    </a:cubicBezTo>
                    <a:lnTo>
                      <a:pt x="95485" y="255081"/>
                    </a:lnTo>
                    <a:lnTo>
                      <a:pt x="11546" y="255081"/>
                    </a:lnTo>
                    <a:cubicBezTo>
                      <a:pt x="5169" y="255081"/>
                      <a:pt x="0" y="249912"/>
                      <a:pt x="0" y="243535"/>
                    </a:cubicBezTo>
                    <a:cubicBezTo>
                      <a:pt x="0" y="237158"/>
                      <a:pt x="5169" y="231989"/>
                      <a:pt x="11546" y="231989"/>
                    </a:cubicBezTo>
                    <a:lnTo>
                      <a:pt x="95485" y="231989"/>
                    </a:lnTo>
                    <a:lnTo>
                      <a:pt x="95485" y="219590"/>
                    </a:lnTo>
                    <a:lnTo>
                      <a:pt x="11546" y="219590"/>
                    </a:lnTo>
                    <a:cubicBezTo>
                      <a:pt x="5169" y="219590"/>
                      <a:pt x="0" y="214421"/>
                      <a:pt x="0" y="208044"/>
                    </a:cubicBezTo>
                    <a:cubicBezTo>
                      <a:pt x="0" y="201667"/>
                      <a:pt x="5169" y="196498"/>
                      <a:pt x="11546" y="196498"/>
                    </a:cubicBezTo>
                    <a:lnTo>
                      <a:pt x="95485" y="196498"/>
                    </a:lnTo>
                    <a:lnTo>
                      <a:pt x="95485" y="184099"/>
                    </a:lnTo>
                    <a:lnTo>
                      <a:pt x="11546" y="184099"/>
                    </a:lnTo>
                    <a:cubicBezTo>
                      <a:pt x="5169" y="184099"/>
                      <a:pt x="0" y="178930"/>
                      <a:pt x="0" y="172553"/>
                    </a:cubicBezTo>
                    <a:cubicBezTo>
                      <a:pt x="0" y="166176"/>
                      <a:pt x="5169" y="161007"/>
                      <a:pt x="11546" y="161007"/>
                    </a:cubicBezTo>
                    <a:lnTo>
                      <a:pt x="95485" y="161007"/>
                    </a:lnTo>
                    <a:lnTo>
                      <a:pt x="95485" y="148609"/>
                    </a:lnTo>
                    <a:lnTo>
                      <a:pt x="11546" y="148609"/>
                    </a:lnTo>
                    <a:cubicBezTo>
                      <a:pt x="5169" y="148609"/>
                      <a:pt x="0" y="143440"/>
                      <a:pt x="0" y="137063"/>
                    </a:cubicBezTo>
                    <a:cubicBezTo>
                      <a:pt x="0" y="130686"/>
                      <a:pt x="5169" y="125517"/>
                      <a:pt x="11546" y="125517"/>
                    </a:cubicBezTo>
                    <a:lnTo>
                      <a:pt x="95485" y="125517"/>
                    </a:lnTo>
                    <a:lnTo>
                      <a:pt x="95485" y="113118"/>
                    </a:lnTo>
                    <a:lnTo>
                      <a:pt x="11546" y="113118"/>
                    </a:lnTo>
                    <a:cubicBezTo>
                      <a:pt x="5169" y="113118"/>
                      <a:pt x="0" y="107949"/>
                      <a:pt x="0" y="101572"/>
                    </a:cubicBezTo>
                    <a:cubicBezTo>
                      <a:pt x="0" y="95195"/>
                      <a:pt x="5169" y="90026"/>
                      <a:pt x="11546" y="90026"/>
                    </a:cubicBezTo>
                    <a:lnTo>
                      <a:pt x="95485" y="90026"/>
                    </a:lnTo>
                    <a:lnTo>
                      <a:pt x="95485" y="11546"/>
                    </a:lnTo>
                    <a:cubicBezTo>
                      <a:pt x="95485" y="5169"/>
                      <a:pt x="100654" y="0"/>
                      <a:pt x="107031" y="0"/>
                    </a:cubicBezTo>
                    <a:cubicBezTo>
                      <a:pt x="113408" y="0"/>
                      <a:pt x="118577" y="5169"/>
                      <a:pt x="118577" y="11546"/>
                    </a:cubicBezTo>
                    <a:lnTo>
                      <a:pt x="118577" y="90026"/>
                    </a:lnTo>
                    <a:lnTo>
                      <a:pt x="130975" y="90026"/>
                    </a:lnTo>
                    <a:lnTo>
                      <a:pt x="130975" y="11546"/>
                    </a:lnTo>
                    <a:cubicBezTo>
                      <a:pt x="130975" y="5169"/>
                      <a:pt x="136144" y="0"/>
                      <a:pt x="142521" y="0"/>
                    </a:cubicBezTo>
                    <a:cubicBezTo>
                      <a:pt x="148898" y="0"/>
                      <a:pt x="154067" y="5169"/>
                      <a:pt x="154067" y="11546"/>
                    </a:cubicBezTo>
                    <a:lnTo>
                      <a:pt x="154067" y="90026"/>
                    </a:lnTo>
                    <a:lnTo>
                      <a:pt x="166466" y="90026"/>
                    </a:lnTo>
                    <a:lnTo>
                      <a:pt x="166466" y="11546"/>
                    </a:lnTo>
                    <a:cubicBezTo>
                      <a:pt x="166466" y="5169"/>
                      <a:pt x="171635" y="0"/>
                      <a:pt x="178012" y="0"/>
                    </a:cubicBezTo>
                    <a:cubicBezTo>
                      <a:pt x="184389" y="0"/>
                      <a:pt x="189558" y="5169"/>
                      <a:pt x="189558" y="11546"/>
                    </a:cubicBezTo>
                    <a:lnTo>
                      <a:pt x="189558" y="90026"/>
                    </a:lnTo>
                    <a:lnTo>
                      <a:pt x="201957" y="90026"/>
                    </a:lnTo>
                    <a:lnTo>
                      <a:pt x="201957" y="11546"/>
                    </a:lnTo>
                    <a:cubicBezTo>
                      <a:pt x="201957" y="5169"/>
                      <a:pt x="207126" y="0"/>
                      <a:pt x="213503" y="0"/>
                    </a:cubicBezTo>
                    <a:cubicBezTo>
                      <a:pt x="219880" y="0"/>
                      <a:pt x="225049" y="5169"/>
                      <a:pt x="225049" y="11546"/>
                    </a:cubicBezTo>
                    <a:lnTo>
                      <a:pt x="225049" y="90026"/>
                    </a:lnTo>
                    <a:lnTo>
                      <a:pt x="237447" y="90026"/>
                    </a:lnTo>
                    <a:lnTo>
                      <a:pt x="237447" y="11546"/>
                    </a:lnTo>
                    <a:cubicBezTo>
                      <a:pt x="237447" y="5169"/>
                      <a:pt x="242616" y="0"/>
                      <a:pt x="248993" y="0"/>
                    </a:cubicBezTo>
                    <a:cubicBezTo>
                      <a:pt x="255370" y="0"/>
                      <a:pt x="260539" y="5169"/>
                      <a:pt x="260539" y="11546"/>
                    </a:cubicBezTo>
                    <a:lnTo>
                      <a:pt x="260539" y="90026"/>
                    </a:lnTo>
                    <a:lnTo>
                      <a:pt x="334842" y="90026"/>
                    </a:lnTo>
                    <a:cubicBezTo>
                      <a:pt x="341219" y="90026"/>
                      <a:pt x="346388" y="95195"/>
                      <a:pt x="346388" y="101572"/>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Rectangle: Rounded Corners 83">
                <a:extLst>
                  <a:ext uri="{FF2B5EF4-FFF2-40B4-BE49-F238E27FC236}">
                    <a16:creationId xmlns:a16="http://schemas.microsoft.com/office/drawing/2014/main" id="{A42150FB-A62D-4CB2-BC87-A0B13AE828A3}"/>
                  </a:ext>
                </a:extLst>
              </p:cNvPr>
              <p:cNvSpPr/>
              <p:nvPr/>
            </p:nvSpPr>
            <p:spPr bwMode="auto">
              <a:xfrm>
                <a:off x="6324615" y="6180985"/>
                <a:ext cx="234814" cy="238492"/>
              </a:xfrm>
              <a:prstGeom prst="roundRect">
                <a:avLst>
                  <a:gd name="adj" fmla="val 9078"/>
                </a:avLst>
              </a:prstGeom>
              <a:solidFill>
                <a:srgbClr val="5C0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36" name="TextBox 35">
            <a:extLst>
              <a:ext uri="{FF2B5EF4-FFF2-40B4-BE49-F238E27FC236}">
                <a16:creationId xmlns:a16="http://schemas.microsoft.com/office/drawing/2014/main" id="{C4531009-4F03-46CE-9869-4EB33B95D782}"/>
              </a:ext>
            </a:extLst>
          </p:cNvPr>
          <p:cNvSpPr txBox="1"/>
          <p:nvPr/>
        </p:nvSpPr>
        <p:spPr>
          <a:xfrm>
            <a:off x="6081753" y="2893868"/>
            <a:ext cx="1134798" cy="461665"/>
          </a:xfrm>
          <a:prstGeom prst="rect">
            <a:avLst/>
          </a:prstGeom>
          <a:noFill/>
          <a:extLst>
            <a:ext uri="{909E8E84-426E-40DD-AFC4-6F175D3DCCD1}">
              <a14:hiddenFill xmlns:a14="http://schemas.microsoft.com/office/drawing/2010/main">
                <a:solidFill>
                  <a:srgbClr val="FFFFFF"/>
                </a:solidFill>
              </a14:hiddenFill>
            </a:ext>
          </a:extLst>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6">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12" name="Group 11">
            <a:extLst>
              <a:ext uri="{FF2B5EF4-FFF2-40B4-BE49-F238E27FC236}">
                <a16:creationId xmlns:a16="http://schemas.microsoft.com/office/drawing/2014/main" id="{3F2EF0BC-852A-47FD-A0E0-A3A2F4C7026C}"/>
              </a:ext>
            </a:extLst>
          </p:cNvPr>
          <p:cNvGrpSpPr/>
          <p:nvPr/>
        </p:nvGrpSpPr>
        <p:grpSpPr>
          <a:xfrm>
            <a:off x="8131467" y="2765550"/>
            <a:ext cx="407691" cy="412355"/>
            <a:chOff x="7143751" y="5654426"/>
            <a:chExt cx="407691" cy="412355"/>
          </a:xfrm>
        </p:grpSpPr>
        <p:sp>
          <p:nvSpPr>
            <p:cNvPr id="66" name="Oval 65">
              <a:extLst>
                <a:ext uri="{FF2B5EF4-FFF2-40B4-BE49-F238E27FC236}">
                  <a16:creationId xmlns:a16="http://schemas.microsoft.com/office/drawing/2014/main" id="{07DBC1AB-24FB-4254-B668-4631E2E1F63B}"/>
                </a:ext>
              </a:extLst>
            </p:cNvPr>
            <p:cNvSpPr/>
            <p:nvPr/>
          </p:nvSpPr>
          <p:spPr bwMode="auto">
            <a:xfrm rot="5400000">
              <a:off x="7141419" y="5656758"/>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8" name="Group 4">
              <a:extLst>
                <a:ext uri="{FF2B5EF4-FFF2-40B4-BE49-F238E27FC236}">
                  <a16:creationId xmlns:a16="http://schemas.microsoft.com/office/drawing/2014/main" id="{1C4A7823-72B1-4F54-8C66-CA1AF53C411C}"/>
                </a:ext>
              </a:extLst>
            </p:cNvPr>
            <p:cNvGrpSpPr>
              <a:grpSpLocks noChangeAspect="1"/>
            </p:cNvGrpSpPr>
            <p:nvPr/>
          </p:nvGrpSpPr>
          <p:grpSpPr bwMode="auto">
            <a:xfrm>
              <a:off x="7264609" y="5793025"/>
              <a:ext cx="180179" cy="120119"/>
              <a:chOff x="689" y="861"/>
              <a:chExt cx="216" cy="144"/>
            </a:xfrm>
          </p:grpSpPr>
          <p:sp>
            <p:nvSpPr>
              <p:cNvPr id="99" name="Freeform 5">
                <a:extLst>
                  <a:ext uri="{FF2B5EF4-FFF2-40B4-BE49-F238E27FC236}">
                    <a16:creationId xmlns:a16="http://schemas.microsoft.com/office/drawing/2014/main" id="{31FB4A84-FBE7-41DD-9945-C49272449420}"/>
                  </a:ext>
                </a:extLst>
              </p:cNvPr>
              <p:cNvSpPr>
                <a:spLocks/>
              </p:cNvSpPr>
              <p:nvPr/>
            </p:nvSpPr>
            <p:spPr bwMode="auto">
              <a:xfrm>
                <a:off x="789" y="936"/>
                <a:ext cx="16" cy="69"/>
              </a:xfrm>
              <a:custGeom>
                <a:avLst/>
                <a:gdLst>
                  <a:gd name="T0" fmla="*/ 0 w 27"/>
                  <a:gd name="T1" fmla="*/ 112 h 112"/>
                  <a:gd name="T2" fmla="*/ 0 w 27"/>
                  <a:gd name="T3" fmla="*/ 112 h 112"/>
                  <a:gd name="T4" fmla="*/ 27 w 27"/>
                  <a:gd name="T5" fmla="*/ 112 h 112"/>
                  <a:gd name="T6" fmla="*/ 27 w 27"/>
                  <a:gd name="T7" fmla="*/ 0 h 112"/>
                  <a:gd name="T8" fmla="*/ 0 w 27"/>
                  <a:gd name="T9" fmla="*/ 0 h 112"/>
                  <a:gd name="T10" fmla="*/ 0 w 27"/>
                  <a:gd name="T11" fmla="*/ 112 h 112"/>
                </a:gdLst>
                <a:ahLst/>
                <a:cxnLst>
                  <a:cxn ang="0">
                    <a:pos x="T0" y="T1"/>
                  </a:cxn>
                  <a:cxn ang="0">
                    <a:pos x="T2" y="T3"/>
                  </a:cxn>
                  <a:cxn ang="0">
                    <a:pos x="T4" y="T5"/>
                  </a:cxn>
                  <a:cxn ang="0">
                    <a:pos x="T6" y="T7"/>
                  </a:cxn>
                  <a:cxn ang="0">
                    <a:pos x="T8" y="T9"/>
                  </a:cxn>
                  <a:cxn ang="0">
                    <a:pos x="T10" y="T11"/>
                  </a:cxn>
                </a:cxnLst>
                <a:rect l="0" t="0" r="r" b="b"/>
                <a:pathLst>
                  <a:path w="27" h="112">
                    <a:moveTo>
                      <a:pt x="0" y="112"/>
                    </a:moveTo>
                    <a:lnTo>
                      <a:pt x="0" y="112"/>
                    </a:lnTo>
                    <a:lnTo>
                      <a:pt x="27" y="112"/>
                    </a:lnTo>
                    <a:lnTo>
                      <a:pt x="27" y="0"/>
                    </a:lnTo>
                    <a:lnTo>
                      <a:pt x="0" y="0"/>
                    </a:lnTo>
                    <a:lnTo>
                      <a:pt x="0" y="11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0" name="Freeform 6">
                <a:extLst>
                  <a:ext uri="{FF2B5EF4-FFF2-40B4-BE49-F238E27FC236}">
                    <a16:creationId xmlns:a16="http://schemas.microsoft.com/office/drawing/2014/main" id="{A84FEC3D-F90A-4359-B28F-EFB59DD0EE14}"/>
                  </a:ext>
                </a:extLst>
              </p:cNvPr>
              <p:cNvSpPr>
                <a:spLocks/>
              </p:cNvSpPr>
              <p:nvPr/>
            </p:nvSpPr>
            <p:spPr bwMode="auto">
              <a:xfrm>
                <a:off x="723" y="936"/>
                <a:ext cx="16" cy="69"/>
              </a:xfrm>
              <a:custGeom>
                <a:avLst/>
                <a:gdLst>
                  <a:gd name="T0" fmla="*/ 0 w 26"/>
                  <a:gd name="T1" fmla="*/ 112 h 112"/>
                  <a:gd name="T2" fmla="*/ 0 w 26"/>
                  <a:gd name="T3" fmla="*/ 112 h 112"/>
                  <a:gd name="T4" fmla="*/ 26 w 26"/>
                  <a:gd name="T5" fmla="*/ 112 h 112"/>
                  <a:gd name="T6" fmla="*/ 26 w 26"/>
                  <a:gd name="T7" fmla="*/ 0 h 112"/>
                  <a:gd name="T8" fmla="*/ 0 w 26"/>
                  <a:gd name="T9" fmla="*/ 0 h 112"/>
                  <a:gd name="T10" fmla="*/ 0 w 26"/>
                  <a:gd name="T11" fmla="*/ 112 h 112"/>
                </a:gdLst>
                <a:ahLst/>
                <a:cxnLst>
                  <a:cxn ang="0">
                    <a:pos x="T0" y="T1"/>
                  </a:cxn>
                  <a:cxn ang="0">
                    <a:pos x="T2" y="T3"/>
                  </a:cxn>
                  <a:cxn ang="0">
                    <a:pos x="T4" y="T5"/>
                  </a:cxn>
                  <a:cxn ang="0">
                    <a:pos x="T6" y="T7"/>
                  </a:cxn>
                  <a:cxn ang="0">
                    <a:pos x="T8" y="T9"/>
                  </a:cxn>
                  <a:cxn ang="0">
                    <a:pos x="T10" y="T11"/>
                  </a:cxn>
                </a:cxnLst>
                <a:rect l="0" t="0" r="r" b="b"/>
                <a:pathLst>
                  <a:path w="26" h="112">
                    <a:moveTo>
                      <a:pt x="0" y="112"/>
                    </a:moveTo>
                    <a:lnTo>
                      <a:pt x="0" y="112"/>
                    </a:lnTo>
                    <a:lnTo>
                      <a:pt x="26" y="112"/>
                    </a:lnTo>
                    <a:lnTo>
                      <a:pt x="26" y="0"/>
                    </a:lnTo>
                    <a:lnTo>
                      <a:pt x="0" y="0"/>
                    </a:lnTo>
                    <a:lnTo>
                      <a:pt x="0" y="11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1" name="Freeform 7">
                <a:extLst>
                  <a:ext uri="{FF2B5EF4-FFF2-40B4-BE49-F238E27FC236}">
                    <a16:creationId xmlns:a16="http://schemas.microsoft.com/office/drawing/2014/main" id="{613C85C5-4B25-4BD2-A363-60856259144A}"/>
                  </a:ext>
                </a:extLst>
              </p:cNvPr>
              <p:cNvSpPr>
                <a:spLocks/>
              </p:cNvSpPr>
              <p:nvPr/>
            </p:nvSpPr>
            <p:spPr bwMode="auto">
              <a:xfrm>
                <a:off x="855" y="936"/>
                <a:ext cx="17" cy="69"/>
              </a:xfrm>
              <a:custGeom>
                <a:avLst/>
                <a:gdLst>
                  <a:gd name="T0" fmla="*/ 27 w 27"/>
                  <a:gd name="T1" fmla="*/ 0 h 112"/>
                  <a:gd name="T2" fmla="*/ 27 w 27"/>
                  <a:gd name="T3" fmla="*/ 0 h 112"/>
                  <a:gd name="T4" fmla="*/ 0 w 27"/>
                  <a:gd name="T5" fmla="*/ 0 h 112"/>
                  <a:gd name="T6" fmla="*/ 0 w 27"/>
                  <a:gd name="T7" fmla="*/ 112 h 112"/>
                  <a:gd name="T8" fmla="*/ 27 w 27"/>
                  <a:gd name="T9" fmla="*/ 112 h 112"/>
                  <a:gd name="T10" fmla="*/ 27 w 27"/>
                  <a:gd name="T11" fmla="*/ 0 h 112"/>
                </a:gdLst>
                <a:ahLst/>
                <a:cxnLst>
                  <a:cxn ang="0">
                    <a:pos x="T0" y="T1"/>
                  </a:cxn>
                  <a:cxn ang="0">
                    <a:pos x="T2" y="T3"/>
                  </a:cxn>
                  <a:cxn ang="0">
                    <a:pos x="T4" y="T5"/>
                  </a:cxn>
                  <a:cxn ang="0">
                    <a:pos x="T6" y="T7"/>
                  </a:cxn>
                  <a:cxn ang="0">
                    <a:pos x="T8" y="T9"/>
                  </a:cxn>
                  <a:cxn ang="0">
                    <a:pos x="T10" y="T11"/>
                  </a:cxn>
                </a:cxnLst>
                <a:rect l="0" t="0" r="r" b="b"/>
                <a:pathLst>
                  <a:path w="27" h="112">
                    <a:moveTo>
                      <a:pt x="27" y="0"/>
                    </a:moveTo>
                    <a:lnTo>
                      <a:pt x="27" y="0"/>
                    </a:lnTo>
                    <a:lnTo>
                      <a:pt x="0" y="0"/>
                    </a:lnTo>
                    <a:lnTo>
                      <a:pt x="0" y="112"/>
                    </a:lnTo>
                    <a:lnTo>
                      <a:pt x="27" y="112"/>
                    </a:lnTo>
                    <a:lnTo>
                      <a:pt x="2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2" name="Freeform 8">
                <a:extLst>
                  <a:ext uri="{FF2B5EF4-FFF2-40B4-BE49-F238E27FC236}">
                    <a16:creationId xmlns:a16="http://schemas.microsoft.com/office/drawing/2014/main" id="{6D494580-46C3-4343-B680-99C895D89023}"/>
                  </a:ext>
                </a:extLst>
              </p:cNvPr>
              <p:cNvSpPr>
                <a:spLocks/>
              </p:cNvSpPr>
              <p:nvPr/>
            </p:nvSpPr>
            <p:spPr bwMode="auto">
              <a:xfrm>
                <a:off x="689" y="861"/>
                <a:ext cx="216" cy="144"/>
              </a:xfrm>
              <a:custGeom>
                <a:avLst/>
                <a:gdLst>
                  <a:gd name="T0" fmla="*/ 0 w 347"/>
                  <a:gd name="T1" fmla="*/ 232 h 232"/>
                  <a:gd name="T2" fmla="*/ 0 w 347"/>
                  <a:gd name="T3" fmla="*/ 232 h 232"/>
                  <a:gd name="T4" fmla="*/ 27 w 347"/>
                  <a:gd name="T5" fmla="*/ 232 h 232"/>
                  <a:gd name="T6" fmla="*/ 27 w 347"/>
                  <a:gd name="T7" fmla="*/ 93 h 232"/>
                  <a:gd name="T8" fmla="*/ 107 w 347"/>
                  <a:gd name="T9" fmla="*/ 93 h 232"/>
                  <a:gd name="T10" fmla="*/ 107 w 347"/>
                  <a:gd name="T11" fmla="*/ 232 h 232"/>
                  <a:gd name="T12" fmla="*/ 134 w 347"/>
                  <a:gd name="T13" fmla="*/ 232 h 232"/>
                  <a:gd name="T14" fmla="*/ 134 w 347"/>
                  <a:gd name="T15" fmla="*/ 93 h 232"/>
                  <a:gd name="T16" fmla="*/ 214 w 347"/>
                  <a:gd name="T17" fmla="*/ 93 h 232"/>
                  <a:gd name="T18" fmla="*/ 214 w 347"/>
                  <a:gd name="T19" fmla="*/ 232 h 232"/>
                  <a:gd name="T20" fmla="*/ 240 w 347"/>
                  <a:gd name="T21" fmla="*/ 232 h 232"/>
                  <a:gd name="T22" fmla="*/ 240 w 347"/>
                  <a:gd name="T23" fmla="*/ 93 h 232"/>
                  <a:gd name="T24" fmla="*/ 320 w 347"/>
                  <a:gd name="T25" fmla="*/ 93 h 232"/>
                  <a:gd name="T26" fmla="*/ 320 w 347"/>
                  <a:gd name="T27" fmla="*/ 232 h 232"/>
                  <a:gd name="T28" fmla="*/ 347 w 347"/>
                  <a:gd name="T29" fmla="*/ 232 h 232"/>
                  <a:gd name="T30" fmla="*/ 347 w 347"/>
                  <a:gd name="T31" fmla="*/ 43 h 232"/>
                  <a:gd name="T32" fmla="*/ 174 w 347"/>
                  <a:gd name="T33" fmla="*/ 0 h 232"/>
                  <a:gd name="T34" fmla="*/ 0 w 347"/>
                  <a:gd name="T35" fmla="*/ 43 h 232"/>
                  <a:gd name="T36" fmla="*/ 0 w 347"/>
                  <a:gd name="T3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232">
                    <a:moveTo>
                      <a:pt x="0" y="232"/>
                    </a:moveTo>
                    <a:lnTo>
                      <a:pt x="0" y="232"/>
                    </a:lnTo>
                    <a:lnTo>
                      <a:pt x="27" y="232"/>
                    </a:lnTo>
                    <a:lnTo>
                      <a:pt x="27" y="93"/>
                    </a:lnTo>
                    <a:lnTo>
                      <a:pt x="107" y="93"/>
                    </a:lnTo>
                    <a:lnTo>
                      <a:pt x="107" y="232"/>
                    </a:lnTo>
                    <a:lnTo>
                      <a:pt x="134" y="232"/>
                    </a:lnTo>
                    <a:lnTo>
                      <a:pt x="134" y="93"/>
                    </a:lnTo>
                    <a:lnTo>
                      <a:pt x="214" y="93"/>
                    </a:lnTo>
                    <a:lnTo>
                      <a:pt x="214" y="232"/>
                    </a:lnTo>
                    <a:lnTo>
                      <a:pt x="240" y="232"/>
                    </a:lnTo>
                    <a:lnTo>
                      <a:pt x="240" y="93"/>
                    </a:lnTo>
                    <a:lnTo>
                      <a:pt x="320" y="93"/>
                    </a:lnTo>
                    <a:lnTo>
                      <a:pt x="320" y="232"/>
                    </a:lnTo>
                    <a:lnTo>
                      <a:pt x="347" y="232"/>
                    </a:lnTo>
                    <a:lnTo>
                      <a:pt x="347" y="43"/>
                    </a:lnTo>
                    <a:lnTo>
                      <a:pt x="174" y="0"/>
                    </a:lnTo>
                    <a:lnTo>
                      <a:pt x="0" y="43"/>
                    </a:lnTo>
                    <a:lnTo>
                      <a:pt x="0" y="23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pic>
        <p:nvPicPr>
          <p:cNvPr id="18" name="Picture 17">
            <a:extLst>
              <a:ext uri="{FF2B5EF4-FFF2-40B4-BE49-F238E27FC236}">
                <a16:creationId xmlns:a16="http://schemas.microsoft.com/office/drawing/2014/main" id="{32187218-63F4-4861-A8BD-CE72EA8FD16E}"/>
              </a:ext>
            </a:extLst>
          </p:cNvPr>
          <p:cNvPicPr>
            <a:picLocks noChangeAspect="1"/>
          </p:cNvPicPr>
          <p:nvPr/>
        </p:nvPicPr>
        <p:blipFill rotWithShape="1">
          <a:blip r:embed="rId17"/>
          <a:srcRect l="4969" r="4969"/>
          <a:stretch/>
        </p:blipFill>
        <p:spPr>
          <a:xfrm>
            <a:off x="787236" y="1101871"/>
            <a:ext cx="2194560" cy="1371600"/>
          </a:xfrm>
          <a:prstGeom prst="rect">
            <a:avLst/>
          </a:prstGeom>
          <a:ln>
            <a:noFill/>
          </a:ln>
          <a:effectLst>
            <a:outerShdw blurRad="190500" dist="76200" dir="2700000" algn="ctr" rotWithShape="0">
              <a:prstClr val="black">
                <a:alpha val="40000"/>
              </a:prstClr>
            </a:outerShdw>
          </a:effectLst>
        </p:spPr>
      </p:pic>
      <p:pic>
        <p:nvPicPr>
          <p:cNvPr id="20" name="Picture 19">
            <a:extLst>
              <a:ext uri="{FF2B5EF4-FFF2-40B4-BE49-F238E27FC236}">
                <a16:creationId xmlns:a16="http://schemas.microsoft.com/office/drawing/2014/main" id="{D66F810B-B36E-45BF-B854-9E9F320D48B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85808" y="2517209"/>
            <a:ext cx="1181100" cy="571500"/>
          </a:xfrm>
          <a:prstGeom prst="rect">
            <a:avLst/>
          </a:prstGeom>
        </p:spPr>
      </p:pic>
      <p:sp>
        <p:nvSpPr>
          <p:cNvPr id="33" name="TextBox 32">
            <a:extLst>
              <a:ext uri="{FF2B5EF4-FFF2-40B4-BE49-F238E27FC236}">
                <a16:creationId xmlns:a16="http://schemas.microsoft.com/office/drawing/2014/main" id="{09B87250-470B-4481-AEBB-A3CA7A42B96A}"/>
              </a:ext>
            </a:extLst>
          </p:cNvPr>
          <p:cNvSpPr txBox="1"/>
          <p:nvPr/>
        </p:nvSpPr>
        <p:spPr>
          <a:xfrm>
            <a:off x="524780" y="2910765"/>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19">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8" name="Group 7">
            <a:extLst>
              <a:ext uri="{FF2B5EF4-FFF2-40B4-BE49-F238E27FC236}">
                <a16:creationId xmlns:a16="http://schemas.microsoft.com/office/drawing/2014/main" id="{7788EE3B-FB2A-4C9C-A4E1-4FF00E549391}"/>
              </a:ext>
            </a:extLst>
          </p:cNvPr>
          <p:cNvGrpSpPr/>
          <p:nvPr/>
        </p:nvGrpSpPr>
        <p:grpSpPr>
          <a:xfrm>
            <a:off x="2619161" y="2763467"/>
            <a:ext cx="407691" cy="412355"/>
            <a:chOff x="11177642" y="2090781"/>
            <a:chExt cx="407691" cy="412355"/>
          </a:xfrm>
        </p:grpSpPr>
        <p:sp>
          <p:nvSpPr>
            <p:cNvPr id="55" name="Oval 54">
              <a:extLst>
                <a:ext uri="{FF2B5EF4-FFF2-40B4-BE49-F238E27FC236}">
                  <a16:creationId xmlns:a16="http://schemas.microsoft.com/office/drawing/2014/main" id="{F627EDB8-1AEE-474F-A224-BD477732D13E}"/>
                </a:ext>
              </a:extLst>
            </p:cNvPr>
            <p:cNvSpPr/>
            <p:nvPr/>
          </p:nvSpPr>
          <p:spPr bwMode="auto">
            <a:xfrm rot="5400000">
              <a:off x="11175310" y="2093113"/>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19" name="Group 285">
              <a:extLst>
                <a:ext uri="{FF2B5EF4-FFF2-40B4-BE49-F238E27FC236}">
                  <a16:creationId xmlns:a16="http://schemas.microsoft.com/office/drawing/2014/main" id="{66EC7199-8DC9-48F7-8BA4-90C4F8AE1DF3}"/>
                </a:ext>
              </a:extLst>
            </p:cNvPr>
            <p:cNvGrpSpPr>
              <a:grpSpLocks noChangeAspect="1"/>
            </p:cNvGrpSpPr>
            <p:nvPr/>
          </p:nvGrpSpPr>
          <p:grpSpPr bwMode="auto">
            <a:xfrm>
              <a:off x="11275276" y="2206117"/>
              <a:ext cx="187505" cy="187505"/>
              <a:chOff x="2402" y="3358"/>
              <a:chExt cx="256" cy="256"/>
            </a:xfrm>
          </p:grpSpPr>
          <p:sp>
            <p:nvSpPr>
              <p:cNvPr id="120" name="AutoShape 284">
                <a:extLst>
                  <a:ext uri="{FF2B5EF4-FFF2-40B4-BE49-F238E27FC236}">
                    <a16:creationId xmlns:a16="http://schemas.microsoft.com/office/drawing/2014/main" id="{A065A9B9-B215-4820-95FF-D5D5D7FBD172}"/>
                  </a:ext>
                </a:extLst>
              </p:cNvPr>
              <p:cNvSpPr>
                <a:spLocks noChangeAspect="1" noChangeArrowheads="1" noTextEdit="1"/>
              </p:cNvSpPr>
              <p:nvPr/>
            </p:nvSpPr>
            <p:spPr bwMode="auto">
              <a:xfrm>
                <a:off x="2402" y="335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1" name="Freeform 286">
                <a:extLst>
                  <a:ext uri="{FF2B5EF4-FFF2-40B4-BE49-F238E27FC236}">
                    <a16:creationId xmlns:a16="http://schemas.microsoft.com/office/drawing/2014/main" id="{3BDD21D4-4CC9-4238-820F-6ABEEB228C21}"/>
                  </a:ext>
                </a:extLst>
              </p:cNvPr>
              <p:cNvSpPr>
                <a:spLocks/>
              </p:cNvSpPr>
              <p:nvPr/>
            </p:nvSpPr>
            <p:spPr bwMode="auto">
              <a:xfrm>
                <a:off x="2485" y="3578"/>
                <a:ext cx="16" cy="9"/>
              </a:xfrm>
              <a:custGeom>
                <a:avLst/>
                <a:gdLst>
                  <a:gd name="T0" fmla="*/ 13 w 26"/>
                  <a:gd name="T1" fmla="*/ 13 h 14"/>
                  <a:gd name="T2" fmla="*/ 13 w 26"/>
                  <a:gd name="T3" fmla="*/ 13 h 14"/>
                  <a:gd name="T4" fmla="*/ 4 w 26"/>
                  <a:gd name="T5" fmla="*/ 9 h 14"/>
                  <a:gd name="T6" fmla="*/ 0 w 26"/>
                  <a:gd name="T7" fmla="*/ 0 h 14"/>
                  <a:gd name="T8" fmla="*/ 0 w 26"/>
                  <a:gd name="T9" fmla="*/ 0 h 14"/>
                  <a:gd name="T10" fmla="*/ 13 w 26"/>
                  <a:gd name="T11" fmla="*/ 14 h 14"/>
                  <a:gd name="T12" fmla="*/ 26 w 26"/>
                  <a:gd name="T13" fmla="*/ 0 h 14"/>
                  <a:gd name="T14" fmla="*/ 26 w 26"/>
                  <a:gd name="T15" fmla="*/ 0 h 14"/>
                  <a:gd name="T16" fmla="*/ 23 w 26"/>
                  <a:gd name="T17" fmla="*/ 9 h 14"/>
                  <a:gd name="T18" fmla="*/ 13 w 26"/>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
                    <a:moveTo>
                      <a:pt x="13" y="13"/>
                    </a:moveTo>
                    <a:lnTo>
                      <a:pt x="13" y="13"/>
                    </a:lnTo>
                    <a:cubicBezTo>
                      <a:pt x="10" y="13"/>
                      <a:pt x="6" y="11"/>
                      <a:pt x="4" y="9"/>
                    </a:cubicBezTo>
                    <a:cubicBezTo>
                      <a:pt x="1" y="6"/>
                      <a:pt x="0" y="3"/>
                      <a:pt x="0" y="0"/>
                    </a:cubicBezTo>
                    <a:cubicBezTo>
                      <a:pt x="0" y="0"/>
                      <a:pt x="0" y="0"/>
                      <a:pt x="0" y="0"/>
                    </a:cubicBezTo>
                    <a:cubicBezTo>
                      <a:pt x="0" y="8"/>
                      <a:pt x="6" y="14"/>
                      <a:pt x="13" y="14"/>
                    </a:cubicBezTo>
                    <a:cubicBezTo>
                      <a:pt x="21" y="14"/>
                      <a:pt x="26" y="8"/>
                      <a:pt x="26" y="0"/>
                    </a:cubicBezTo>
                    <a:cubicBezTo>
                      <a:pt x="26" y="0"/>
                      <a:pt x="26" y="0"/>
                      <a:pt x="26" y="0"/>
                    </a:cubicBezTo>
                    <a:cubicBezTo>
                      <a:pt x="26" y="3"/>
                      <a:pt x="25" y="6"/>
                      <a:pt x="23" y="9"/>
                    </a:cubicBezTo>
                    <a:cubicBezTo>
                      <a:pt x="20" y="11"/>
                      <a:pt x="17" y="13"/>
                      <a:pt x="13" y="13"/>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2" name="Freeform 287">
                <a:extLst>
                  <a:ext uri="{FF2B5EF4-FFF2-40B4-BE49-F238E27FC236}">
                    <a16:creationId xmlns:a16="http://schemas.microsoft.com/office/drawing/2014/main" id="{741C2BE8-6E02-49B0-85E8-C3EF32C39292}"/>
                  </a:ext>
                </a:extLst>
              </p:cNvPr>
              <p:cNvSpPr>
                <a:spLocks/>
              </p:cNvSpPr>
              <p:nvPr/>
            </p:nvSpPr>
            <p:spPr bwMode="auto">
              <a:xfrm>
                <a:off x="2449" y="3404"/>
                <a:ext cx="185" cy="174"/>
              </a:xfrm>
              <a:custGeom>
                <a:avLst/>
                <a:gdLst>
                  <a:gd name="T0" fmla="*/ 110 w 297"/>
                  <a:gd name="T1" fmla="*/ 281 h 281"/>
                  <a:gd name="T2" fmla="*/ 110 w 297"/>
                  <a:gd name="T3" fmla="*/ 281 h 281"/>
                  <a:gd name="T4" fmla="*/ 110 w 297"/>
                  <a:gd name="T5" fmla="*/ 280 h 281"/>
                  <a:gd name="T6" fmla="*/ 108 w 297"/>
                  <a:gd name="T7" fmla="*/ 267 h 281"/>
                  <a:gd name="T8" fmla="*/ 219 w 297"/>
                  <a:gd name="T9" fmla="*/ 267 h 281"/>
                  <a:gd name="T10" fmla="*/ 217 w 297"/>
                  <a:gd name="T11" fmla="*/ 280 h 281"/>
                  <a:gd name="T12" fmla="*/ 217 w 297"/>
                  <a:gd name="T13" fmla="*/ 281 h 281"/>
                  <a:gd name="T14" fmla="*/ 257 w 297"/>
                  <a:gd name="T15" fmla="*/ 241 h 281"/>
                  <a:gd name="T16" fmla="*/ 297 w 297"/>
                  <a:gd name="T17" fmla="*/ 281 h 281"/>
                  <a:gd name="T18" fmla="*/ 297 w 297"/>
                  <a:gd name="T19" fmla="*/ 280 h 281"/>
                  <a:gd name="T20" fmla="*/ 294 w 297"/>
                  <a:gd name="T21" fmla="*/ 265 h 281"/>
                  <a:gd name="T22" fmla="*/ 285 w 297"/>
                  <a:gd name="T23" fmla="*/ 252 h 281"/>
                  <a:gd name="T24" fmla="*/ 272 w 297"/>
                  <a:gd name="T25" fmla="*/ 243 h 281"/>
                  <a:gd name="T26" fmla="*/ 257 w 297"/>
                  <a:gd name="T27" fmla="*/ 240 h 281"/>
                  <a:gd name="T28" fmla="*/ 80 w 297"/>
                  <a:gd name="T29" fmla="*/ 240 h 281"/>
                  <a:gd name="T30" fmla="*/ 62 w 297"/>
                  <a:gd name="T31" fmla="*/ 187 h 281"/>
                  <a:gd name="T32" fmla="*/ 0 w 297"/>
                  <a:gd name="T33" fmla="*/ 0 h 281"/>
                  <a:gd name="T34" fmla="*/ 80 w 297"/>
                  <a:gd name="T35" fmla="*/ 243 h 281"/>
                  <a:gd name="T36" fmla="*/ 110 w 297"/>
                  <a:gd name="T37"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7" h="281">
                    <a:moveTo>
                      <a:pt x="110" y="281"/>
                    </a:moveTo>
                    <a:lnTo>
                      <a:pt x="110" y="281"/>
                    </a:lnTo>
                    <a:cubicBezTo>
                      <a:pt x="110" y="281"/>
                      <a:pt x="110" y="280"/>
                      <a:pt x="110" y="280"/>
                    </a:cubicBezTo>
                    <a:cubicBezTo>
                      <a:pt x="110" y="276"/>
                      <a:pt x="109" y="272"/>
                      <a:pt x="108" y="267"/>
                    </a:cubicBezTo>
                    <a:lnTo>
                      <a:pt x="219" y="267"/>
                    </a:lnTo>
                    <a:cubicBezTo>
                      <a:pt x="218" y="272"/>
                      <a:pt x="217" y="276"/>
                      <a:pt x="217" y="280"/>
                    </a:cubicBezTo>
                    <a:cubicBezTo>
                      <a:pt x="217" y="280"/>
                      <a:pt x="217" y="281"/>
                      <a:pt x="217" y="281"/>
                    </a:cubicBezTo>
                    <a:cubicBezTo>
                      <a:pt x="217" y="259"/>
                      <a:pt x="235" y="241"/>
                      <a:pt x="257" y="241"/>
                    </a:cubicBezTo>
                    <a:cubicBezTo>
                      <a:pt x="279" y="241"/>
                      <a:pt x="296" y="259"/>
                      <a:pt x="297" y="281"/>
                    </a:cubicBezTo>
                    <a:cubicBezTo>
                      <a:pt x="297" y="281"/>
                      <a:pt x="297" y="280"/>
                      <a:pt x="297" y="280"/>
                    </a:cubicBezTo>
                    <a:cubicBezTo>
                      <a:pt x="297" y="275"/>
                      <a:pt x="296" y="270"/>
                      <a:pt x="294" y="265"/>
                    </a:cubicBezTo>
                    <a:cubicBezTo>
                      <a:pt x="292" y="260"/>
                      <a:pt x="289" y="256"/>
                      <a:pt x="285" y="252"/>
                    </a:cubicBezTo>
                    <a:cubicBezTo>
                      <a:pt x="282" y="248"/>
                      <a:pt x="277" y="245"/>
                      <a:pt x="272" y="243"/>
                    </a:cubicBezTo>
                    <a:cubicBezTo>
                      <a:pt x="268" y="241"/>
                      <a:pt x="262" y="240"/>
                      <a:pt x="257" y="240"/>
                    </a:cubicBezTo>
                    <a:lnTo>
                      <a:pt x="80" y="240"/>
                    </a:lnTo>
                    <a:lnTo>
                      <a:pt x="62" y="187"/>
                    </a:lnTo>
                    <a:lnTo>
                      <a:pt x="0" y="0"/>
                    </a:lnTo>
                    <a:lnTo>
                      <a:pt x="80" y="243"/>
                    </a:lnTo>
                    <a:cubicBezTo>
                      <a:pt x="97" y="247"/>
                      <a:pt x="110" y="263"/>
                      <a:pt x="110" y="281"/>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3" name="Freeform 288">
                <a:extLst>
                  <a:ext uri="{FF2B5EF4-FFF2-40B4-BE49-F238E27FC236}">
                    <a16:creationId xmlns:a16="http://schemas.microsoft.com/office/drawing/2014/main" id="{F98F6474-2148-4EB4-A2FB-9687D85CA356}"/>
                  </a:ext>
                </a:extLst>
              </p:cNvPr>
              <p:cNvSpPr>
                <a:spLocks/>
              </p:cNvSpPr>
              <p:nvPr/>
            </p:nvSpPr>
            <p:spPr bwMode="auto">
              <a:xfrm>
                <a:off x="2600" y="3578"/>
                <a:ext cx="17" cy="9"/>
              </a:xfrm>
              <a:custGeom>
                <a:avLst/>
                <a:gdLst>
                  <a:gd name="T0" fmla="*/ 14 w 27"/>
                  <a:gd name="T1" fmla="*/ 13 h 14"/>
                  <a:gd name="T2" fmla="*/ 14 w 27"/>
                  <a:gd name="T3" fmla="*/ 13 h 14"/>
                  <a:gd name="T4" fmla="*/ 4 w 27"/>
                  <a:gd name="T5" fmla="*/ 9 h 14"/>
                  <a:gd name="T6" fmla="*/ 1 w 27"/>
                  <a:gd name="T7" fmla="*/ 0 h 14"/>
                  <a:gd name="T8" fmla="*/ 0 w 27"/>
                  <a:gd name="T9" fmla="*/ 0 h 14"/>
                  <a:gd name="T10" fmla="*/ 14 w 27"/>
                  <a:gd name="T11" fmla="*/ 14 h 14"/>
                  <a:gd name="T12" fmla="*/ 27 w 27"/>
                  <a:gd name="T13" fmla="*/ 0 h 14"/>
                  <a:gd name="T14" fmla="*/ 27 w 27"/>
                  <a:gd name="T15" fmla="*/ 0 h 14"/>
                  <a:gd name="T16" fmla="*/ 23 w 27"/>
                  <a:gd name="T17" fmla="*/ 9 h 14"/>
                  <a:gd name="T18" fmla="*/ 14 w 27"/>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4">
                    <a:moveTo>
                      <a:pt x="14" y="13"/>
                    </a:moveTo>
                    <a:lnTo>
                      <a:pt x="14" y="13"/>
                    </a:lnTo>
                    <a:cubicBezTo>
                      <a:pt x="10" y="13"/>
                      <a:pt x="7" y="11"/>
                      <a:pt x="4" y="9"/>
                    </a:cubicBezTo>
                    <a:cubicBezTo>
                      <a:pt x="2" y="6"/>
                      <a:pt x="1" y="3"/>
                      <a:pt x="1" y="0"/>
                    </a:cubicBezTo>
                    <a:cubicBezTo>
                      <a:pt x="1" y="0"/>
                      <a:pt x="0" y="0"/>
                      <a:pt x="0" y="0"/>
                    </a:cubicBezTo>
                    <a:cubicBezTo>
                      <a:pt x="0" y="8"/>
                      <a:pt x="6" y="14"/>
                      <a:pt x="14" y="14"/>
                    </a:cubicBezTo>
                    <a:cubicBezTo>
                      <a:pt x="21" y="14"/>
                      <a:pt x="27" y="8"/>
                      <a:pt x="27" y="0"/>
                    </a:cubicBezTo>
                    <a:cubicBezTo>
                      <a:pt x="27" y="0"/>
                      <a:pt x="27" y="0"/>
                      <a:pt x="27" y="0"/>
                    </a:cubicBezTo>
                    <a:cubicBezTo>
                      <a:pt x="27" y="3"/>
                      <a:pt x="26" y="6"/>
                      <a:pt x="23" y="9"/>
                    </a:cubicBezTo>
                    <a:cubicBezTo>
                      <a:pt x="21" y="11"/>
                      <a:pt x="17" y="13"/>
                      <a:pt x="14" y="13"/>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4" name="Freeform 289">
                <a:extLst>
                  <a:ext uri="{FF2B5EF4-FFF2-40B4-BE49-F238E27FC236}">
                    <a16:creationId xmlns:a16="http://schemas.microsoft.com/office/drawing/2014/main" id="{67F0991E-88DB-4DC5-B7BA-2532BD2CBCA5}"/>
                  </a:ext>
                </a:extLst>
              </p:cNvPr>
              <p:cNvSpPr>
                <a:spLocks/>
              </p:cNvSpPr>
              <p:nvPr/>
            </p:nvSpPr>
            <p:spPr bwMode="auto">
              <a:xfrm>
                <a:off x="2402" y="3371"/>
                <a:ext cx="97" cy="207"/>
              </a:xfrm>
              <a:custGeom>
                <a:avLst/>
                <a:gdLst>
                  <a:gd name="T0" fmla="*/ 129 w 156"/>
                  <a:gd name="T1" fmla="*/ 297 h 334"/>
                  <a:gd name="T2" fmla="*/ 129 w 156"/>
                  <a:gd name="T3" fmla="*/ 297 h 334"/>
                  <a:gd name="T4" fmla="*/ 112 w 156"/>
                  <a:gd name="T5" fmla="*/ 312 h 334"/>
                  <a:gd name="T6" fmla="*/ 106 w 156"/>
                  <a:gd name="T7" fmla="*/ 333 h 334"/>
                  <a:gd name="T8" fmla="*/ 106 w 156"/>
                  <a:gd name="T9" fmla="*/ 334 h 334"/>
                  <a:gd name="T10" fmla="*/ 146 w 156"/>
                  <a:gd name="T11" fmla="*/ 294 h 334"/>
                  <a:gd name="T12" fmla="*/ 156 w 156"/>
                  <a:gd name="T13" fmla="*/ 296 h 334"/>
                  <a:gd name="T14" fmla="*/ 76 w 156"/>
                  <a:gd name="T15" fmla="*/ 53 h 334"/>
                  <a:gd name="T16" fmla="*/ 76 w 156"/>
                  <a:gd name="T17" fmla="*/ 53 h 334"/>
                  <a:gd name="T18" fmla="*/ 58 w 156"/>
                  <a:gd name="T19" fmla="*/ 0 h 334"/>
                  <a:gd name="T20" fmla="*/ 0 w 156"/>
                  <a:gd name="T21" fmla="*/ 0 h 334"/>
                  <a:gd name="T22" fmla="*/ 0 w 156"/>
                  <a:gd name="T23" fmla="*/ 27 h 334"/>
                  <a:gd name="T24" fmla="*/ 39 w 156"/>
                  <a:gd name="T25" fmla="*/ 27 h 334"/>
                  <a:gd name="T26" fmla="*/ 129 w 156"/>
                  <a:gd name="T27" fmla="*/ 297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334">
                    <a:moveTo>
                      <a:pt x="129" y="297"/>
                    </a:moveTo>
                    <a:lnTo>
                      <a:pt x="129" y="297"/>
                    </a:lnTo>
                    <a:cubicBezTo>
                      <a:pt x="122" y="301"/>
                      <a:pt x="116" y="305"/>
                      <a:pt x="112" y="312"/>
                    </a:cubicBezTo>
                    <a:cubicBezTo>
                      <a:pt x="108" y="319"/>
                      <a:pt x="106" y="326"/>
                      <a:pt x="106" y="333"/>
                    </a:cubicBezTo>
                    <a:cubicBezTo>
                      <a:pt x="106" y="333"/>
                      <a:pt x="106" y="334"/>
                      <a:pt x="106" y="334"/>
                    </a:cubicBezTo>
                    <a:cubicBezTo>
                      <a:pt x="107" y="312"/>
                      <a:pt x="124" y="294"/>
                      <a:pt x="146" y="294"/>
                    </a:cubicBezTo>
                    <a:cubicBezTo>
                      <a:pt x="150" y="294"/>
                      <a:pt x="153" y="295"/>
                      <a:pt x="156" y="296"/>
                    </a:cubicBezTo>
                    <a:lnTo>
                      <a:pt x="76" y="53"/>
                    </a:lnTo>
                    <a:lnTo>
                      <a:pt x="76" y="53"/>
                    </a:lnTo>
                    <a:lnTo>
                      <a:pt x="58" y="0"/>
                    </a:lnTo>
                    <a:lnTo>
                      <a:pt x="0" y="0"/>
                    </a:lnTo>
                    <a:lnTo>
                      <a:pt x="0" y="27"/>
                    </a:lnTo>
                    <a:lnTo>
                      <a:pt x="39" y="27"/>
                    </a:lnTo>
                    <a:lnTo>
                      <a:pt x="129" y="29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5" name="Freeform 290">
                <a:extLst>
                  <a:ext uri="{FF2B5EF4-FFF2-40B4-BE49-F238E27FC236}">
                    <a16:creationId xmlns:a16="http://schemas.microsoft.com/office/drawing/2014/main" id="{C3C877DF-7F2E-4574-899D-8BDB124F3A63}"/>
                  </a:ext>
                </a:extLst>
              </p:cNvPr>
              <p:cNvSpPr>
                <a:spLocks/>
              </p:cNvSpPr>
              <p:nvPr/>
            </p:nvSpPr>
            <p:spPr bwMode="auto">
              <a:xfrm>
                <a:off x="2449" y="3404"/>
                <a:ext cx="217" cy="116"/>
              </a:xfrm>
              <a:custGeom>
                <a:avLst/>
                <a:gdLst>
                  <a:gd name="T0" fmla="*/ 288 w 350"/>
                  <a:gd name="T1" fmla="*/ 187 h 187"/>
                  <a:gd name="T2" fmla="*/ 288 w 350"/>
                  <a:gd name="T3" fmla="*/ 187 h 187"/>
                  <a:gd name="T4" fmla="*/ 350 w 350"/>
                  <a:gd name="T5" fmla="*/ 0 h 187"/>
                  <a:gd name="T6" fmla="*/ 0 w 350"/>
                  <a:gd name="T7" fmla="*/ 0 h 187"/>
                  <a:gd name="T8" fmla="*/ 62 w 350"/>
                  <a:gd name="T9" fmla="*/ 187 h 187"/>
                  <a:gd name="T10" fmla="*/ 288 w 350"/>
                  <a:gd name="T11" fmla="*/ 187 h 187"/>
                </a:gdLst>
                <a:ahLst/>
                <a:cxnLst>
                  <a:cxn ang="0">
                    <a:pos x="T0" y="T1"/>
                  </a:cxn>
                  <a:cxn ang="0">
                    <a:pos x="T2" y="T3"/>
                  </a:cxn>
                  <a:cxn ang="0">
                    <a:pos x="T4" y="T5"/>
                  </a:cxn>
                  <a:cxn ang="0">
                    <a:pos x="T6" y="T7"/>
                  </a:cxn>
                  <a:cxn ang="0">
                    <a:pos x="T8" y="T9"/>
                  </a:cxn>
                  <a:cxn ang="0">
                    <a:pos x="T10" y="T11"/>
                  </a:cxn>
                </a:cxnLst>
                <a:rect l="0" t="0" r="r" b="b"/>
                <a:pathLst>
                  <a:path w="350" h="187">
                    <a:moveTo>
                      <a:pt x="288" y="187"/>
                    </a:moveTo>
                    <a:lnTo>
                      <a:pt x="288" y="187"/>
                    </a:lnTo>
                    <a:lnTo>
                      <a:pt x="350" y="0"/>
                    </a:lnTo>
                    <a:lnTo>
                      <a:pt x="0" y="0"/>
                    </a:lnTo>
                    <a:lnTo>
                      <a:pt x="62" y="187"/>
                    </a:lnTo>
                    <a:lnTo>
                      <a:pt x="288" y="187"/>
                    </a:lnTo>
                    <a:close/>
                  </a:path>
                </a:pathLst>
              </a:custGeom>
              <a:solidFill>
                <a:srgbClr val="5C005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6" name="Freeform 291">
                <a:extLst>
                  <a:ext uri="{FF2B5EF4-FFF2-40B4-BE49-F238E27FC236}">
                    <a16:creationId xmlns:a16="http://schemas.microsoft.com/office/drawing/2014/main" id="{4EFA6906-3273-4F0C-B889-750004164EFF}"/>
                  </a:ext>
                </a:extLst>
              </p:cNvPr>
              <p:cNvSpPr>
                <a:spLocks/>
              </p:cNvSpPr>
              <p:nvPr/>
            </p:nvSpPr>
            <p:spPr bwMode="auto">
              <a:xfrm>
                <a:off x="2468" y="3578"/>
                <a:ext cx="49" cy="25"/>
              </a:xfrm>
              <a:custGeom>
                <a:avLst/>
                <a:gdLst>
                  <a:gd name="T0" fmla="*/ 68 w 80"/>
                  <a:gd name="T1" fmla="*/ 28 h 40"/>
                  <a:gd name="T2" fmla="*/ 68 w 80"/>
                  <a:gd name="T3" fmla="*/ 28 h 40"/>
                  <a:gd name="T4" fmla="*/ 56 w 80"/>
                  <a:gd name="T5" fmla="*/ 36 h 40"/>
                  <a:gd name="T6" fmla="*/ 40 w 80"/>
                  <a:gd name="T7" fmla="*/ 39 h 40"/>
                  <a:gd name="T8" fmla="*/ 25 w 80"/>
                  <a:gd name="T9" fmla="*/ 36 h 40"/>
                  <a:gd name="T10" fmla="*/ 12 w 80"/>
                  <a:gd name="T11" fmla="*/ 28 h 40"/>
                  <a:gd name="T12" fmla="*/ 3 w 80"/>
                  <a:gd name="T13" fmla="*/ 15 h 40"/>
                  <a:gd name="T14" fmla="*/ 0 w 80"/>
                  <a:gd name="T15" fmla="*/ 0 h 40"/>
                  <a:gd name="T16" fmla="*/ 0 w 80"/>
                  <a:gd name="T17" fmla="*/ 0 h 40"/>
                  <a:gd name="T18" fmla="*/ 40 w 80"/>
                  <a:gd name="T19" fmla="*/ 40 h 40"/>
                  <a:gd name="T20" fmla="*/ 80 w 80"/>
                  <a:gd name="T21" fmla="*/ 0 h 40"/>
                  <a:gd name="T22" fmla="*/ 80 w 80"/>
                  <a:gd name="T23" fmla="*/ 0 h 40"/>
                  <a:gd name="T24" fmla="*/ 77 w 80"/>
                  <a:gd name="T25" fmla="*/ 15 h 40"/>
                  <a:gd name="T26" fmla="*/ 68 w 80"/>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0">
                    <a:moveTo>
                      <a:pt x="68" y="28"/>
                    </a:moveTo>
                    <a:lnTo>
                      <a:pt x="68" y="28"/>
                    </a:lnTo>
                    <a:cubicBezTo>
                      <a:pt x="65" y="31"/>
                      <a:pt x="61" y="34"/>
                      <a:pt x="56" y="36"/>
                    </a:cubicBezTo>
                    <a:cubicBezTo>
                      <a:pt x="51" y="38"/>
                      <a:pt x="46" y="39"/>
                      <a:pt x="40" y="39"/>
                    </a:cubicBezTo>
                    <a:cubicBezTo>
                      <a:pt x="35" y="39"/>
                      <a:pt x="29" y="38"/>
                      <a:pt x="25" y="36"/>
                    </a:cubicBezTo>
                    <a:cubicBezTo>
                      <a:pt x="20" y="34"/>
                      <a:pt x="15" y="31"/>
                      <a:pt x="12" y="28"/>
                    </a:cubicBezTo>
                    <a:cubicBezTo>
                      <a:pt x="8" y="24"/>
                      <a:pt x="5" y="20"/>
                      <a:pt x="3" y="15"/>
                    </a:cubicBezTo>
                    <a:cubicBezTo>
                      <a:pt x="1" y="10"/>
                      <a:pt x="0" y="5"/>
                      <a:pt x="0" y="0"/>
                    </a:cubicBezTo>
                    <a:cubicBezTo>
                      <a:pt x="0" y="0"/>
                      <a:pt x="0" y="0"/>
                      <a:pt x="0" y="0"/>
                    </a:cubicBezTo>
                    <a:cubicBezTo>
                      <a:pt x="0" y="23"/>
                      <a:pt x="18" y="40"/>
                      <a:pt x="40" y="40"/>
                    </a:cubicBezTo>
                    <a:cubicBezTo>
                      <a:pt x="62" y="40"/>
                      <a:pt x="80" y="23"/>
                      <a:pt x="80" y="0"/>
                    </a:cubicBezTo>
                    <a:cubicBezTo>
                      <a:pt x="80" y="0"/>
                      <a:pt x="80" y="0"/>
                      <a:pt x="80" y="0"/>
                    </a:cubicBezTo>
                    <a:cubicBezTo>
                      <a:pt x="80" y="5"/>
                      <a:pt x="79" y="10"/>
                      <a:pt x="77" y="15"/>
                    </a:cubicBezTo>
                    <a:cubicBezTo>
                      <a:pt x="75" y="20"/>
                      <a:pt x="72" y="24"/>
                      <a:pt x="68" y="28"/>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7" name="Freeform 292">
                <a:extLst>
                  <a:ext uri="{FF2B5EF4-FFF2-40B4-BE49-F238E27FC236}">
                    <a16:creationId xmlns:a16="http://schemas.microsoft.com/office/drawing/2014/main" id="{2ED05971-167A-41D6-89D8-869C9950A635}"/>
                  </a:ext>
                </a:extLst>
              </p:cNvPr>
              <p:cNvSpPr>
                <a:spLocks/>
              </p:cNvSpPr>
              <p:nvPr/>
            </p:nvSpPr>
            <p:spPr bwMode="auto">
              <a:xfrm>
                <a:off x="2485" y="3570"/>
                <a:ext cx="16" cy="8"/>
              </a:xfrm>
              <a:custGeom>
                <a:avLst/>
                <a:gdLst>
                  <a:gd name="T0" fmla="*/ 23 w 27"/>
                  <a:gd name="T1" fmla="*/ 4 h 14"/>
                  <a:gd name="T2" fmla="*/ 23 w 27"/>
                  <a:gd name="T3" fmla="*/ 4 h 14"/>
                  <a:gd name="T4" fmla="*/ 13 w 27"/>
                  <a:gd name="T5" fmla="*/ 0 h 14"/>
                  <a:gd name="T6" fmla="*/ 4 w 27"/>
                  <a:gd name="T7" fmla="*/ 4 h 14"/>
                  <a:gd name="T8" fmla="*/ 0 w 27"/>
                  <a:gd name="T9" fmla="*/ 13 h 14"/>
                  <a:gd name="T10" fmla="*/ 0 w 27"/>
                  <a:gd name="T11" fmla="*/ 14 h 14"/>
                  <a:gd name="T12" fmla="*/ 13 w 27"/>
                  <a:gd name="T13" fmla="*/ 1 h 14"/>
                  <a:gd name="T14" fmla="*/ 26 w 27"/>
                  <a:gd name="T15" fmla="*/ 14 h 14"/>
                  <a:gd name="T16" fmla="*/ 27 w 27"/>
                  <a:gd name="T17" fmla="*/ 13 h 14"/>
                  <a:gd name="T18" fmla="*/ 23 w 27"/>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4">
                    <a:moveTo>
                      <a:pt x="23" y="4"/>
                    </a:moveTo>
                    <a:lnTo>
                      <a:pt x="23" y="4"/>
                    </a:lnTo>
                    <a:cubicBezTo>
                      <a:pt x="20" y="1"/>
                      <a:pt x="17" y="0"/>
                      <a:pt x="13" y="0"/>
                    </a:cubicBezTo>
                    <a:cubicBezTo>
                      <a:pt x="10" y="0"/>
                      <a:pt x="6" y="1"/>
                      <a:pt x="4" y="4"/>
                    </a:cubicBezTo>
                    <a:cubicBezTo>
                      <a:pt x="1" y="7"/>
                      <a:pt x="0" y="10"/>
                      <a:pt x="0" y="13"/>
                    </a:cubicBezTo>
                    <a:cubicBezTo>
                      <a:pt x="0" y="13"/>
                      <a:pt x="0" y="14"/>
                      <a:pt x="0" y="14"/>
                    </a:cubicBezTo>
                    <a:cubicBezTo>
                      <a:pt x="0" y="7"/>
                      <a:pt x="6" y="1"/>
                      <a:pt x="13" y="1"/>
                    </a:cubicBezTo>
                    <a:cubicBezTo>
                      <a:pt x="20" y="1"/>
                      <a:pt x="26" y="7"/>
                      <a:pt x="26" y="14"/>
                    </a:cubicBezTo>
                    <a:cubicBezTo>
                      <a:pt x="26" y="14"/>
                      <a:pt x="27" y="13"/>
                      <a:pt x="27" y="13"/>
                    </a:cubicBezTo>
                    <a:cubicBezTo>
                      <a:pt x="27" y="10"/>
                      <a:pt x="25" y="7"/>
                      <a:pt x="23" y="4"/>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8" name="Freeform 293">
                <a:extLst>
                  <a:ext uri="{FF2B5EF4-FFF2-40B4-BE49-F238E27FC236}">
                    <a16:creationId xmlns:a16="http://schemas.microsoft.com/office/drawing/2014/main" id="{330FA736-3ED6-4BBD-91D4-8AB1845868AF}"/>
                  </a:ext>
                </a:extLst>
              </p:cNvPr>
              <p:cNvSpPr>
                <a:spLocks noEditPoints="1"/>
              </p:cNvSpPr>
              <p:nvPr/>
            </p:nvSpPr>
            <p:spPr bwMode="auto">
              <a:xfrm>
                <a:off x="2468" y="3554"/>
                <a:ext cx="49" cy="49"/>
              </a:xfrm>
              <a:custGeom>
                <a:avLst/>
                <a:gdLst>
                  <a:gd name="T0" fmla="*/ 53 w 80"/>
                  <a:gd name="T1" fmla="*/ 40 h 79"/>
                  <a:gd name="T2" fmla="*/ 53 w 80"/>
                  <a:gd name="T3" fmla="*/ 40 h 79"/>
                  <a:gd name="T4" fmla="*/ 40 w 80"/>
                  <a:gd name="T5" fmla="*/ 54 h 79"/>
                  <a:gd name="T6" fmla="*/ 27 w 80"/>
                  <a:gd name="T7" fmla="*/ 40 h 79"/>
                  <a:gd name="T8" fmla="*/ 27 w 80"/>
                  <a:gd name="T9" fmla="*/ 40 h 79"/>
                  <a:gd name="T10" fmla="*/ 27 w 80"/>
                  <a:gd name="T11" fmla="*/ 39 h 79"/>
                  <a:gd name="T12" fmla="*/ 31 w 80"/>
                  <a:gd name="T13" fmla="*/ 30 h 79"/>
                  <a:gd name="T14" fmla="*/ 40 w 80"/>
                  <a:gd name="T15" fmla="*/ 26 h 79"/>
                  <a:gd name="T16" fmla="*/ 50 w 80"/>
                  <a:gd name="T17" fmla="*/ 30 h 79"/>
                  <a:gd name="T18" fmla="*/ 53 w 80"/>
                  <a:gd name="T19" fmla="*/ 39 h 79"/>
                  <a:gd name="T20" fmla="*/ 53 w 80"/>
                  <a:gd name="T21" fmla="*/ 40 h 79"/>
                  <a:gd name="T22" fmla="*/ 53 w 80"/>
                  <a:gd name="T23" fmla="*/ 40 h 79"/>
                  <a:gd name="T24" fmla="*/ 50 w 80"/>
                  <a:gd name="T25" fmla="*/ 2 h 79"/>
                  <a:gd name="T26" fmla="*/ 50 w 80"/>
                  <a:gd name="T27" fmla="*/ 2 h 79"/>
                  <a:gd name="T28" fmla="*/ 51 w 80"/>
                  <a:gd name="T29" fmla="*/ 3 h 79"/>
                  <a:gd name="T30" fmla="*/ 50 w 80"/>
                  <a:gd name="T31" fmla="*/ 2 h 79"/>
                  <a:gd name="T32" fmla="*/ 40 w 80"/>
                  <a:gd name="T33" fmla="*/ 0 h 79"/>
                  <a:gd name="T34" fmla="*/ 0 w 80"/>
                  <a:gd name="T35" fmla="*/ 40 h 79"/>
                  <a:gd name="T36" fmla="*/ 3 w 80"/>
                  <a:gd name="T37" fmla="*/ 55 h 79"/>
                  <a:gd name="T38" fmla="*/ 12 w 80"/>
                  <a:gd name="T39" fmla="*/ 68 h 79"/>
                  <a:gd name="T40" fmla="*/ 25 w 80"/>
                  <a:gd name="T41" fmla="*/ 76 h 79"/>
                  <a:gd name="T42" fmla="*/ 40 w 80"/>
                  <a:gd name="T43" fmla="*/ 79 h 79"/>
                  <a:gd name="T44" fmla="*/ 56 w 80"/>
                  <a:gd name="T45" fmla="*/ 76 h 79"/>
                  <a:gd name="T46" fmla="*/ 68 w 80"/>
                  <a:gd name="T47" fmla="*/ 68 h 79"/>
                  <a:gd name="T48" fmla="*/ 77 w 80"/>
                  <a:gd name="T49" fmla="*/ 55 h 79"/>
                  <a:gd name="T50" fmla="*/ 80 w 80"/>
                  <a:gd name="T51" fmla="*/ 40 h 79"/>
                  <a:gd name="T52" fmla="*/ 50 w 80"/>
                  <a:gd name="T53"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79">
                    <a:moveTo>
                      <a:pt x="53" y="40"/>
                    </a:moveTo>
                    <a:lnTo>
                      <a:pt x="53" y="40"/>
                    </a:lnTo>
                    <a:cubicBezTo>
                      <a:pt x="53" y="48"/>
                      <a:pt x="48" y="54"/>
                      <a:pt x="40" y="54"/>
                    </a:cubicBezTo>
                    <a:cubicBezTo>
                      <a:pt x="33" y="54"/>
                      <a:pt x="27" y="48"/>
                      <a:pt x="27" y="40"/>
                    </a:cubicBezTo>
                    <a:cubicBezTo>
                      <a:pt x="27" y="40"/>
                      <a:pt x="27" y="40"/>
                      <a:pt x="27" y="40"/>
                    </a:cubicBezTo>
                    <a:cubicBezTo>
                      <a:pt x="27" y="40"/>
                      <a:pt x="27" y="39"/>
                      <a:pt x="27" y="39"/>
                    </a:cubicBezTo>
                    <a:cubicBezTo>
                      <a:pt x="27" y="36"/>
                      <a:pt x="28" y="33"/>
                      <a:pt x="31" y="30"/>
                    </a:cubicBezTo>
                    <a:cubicBezTo>
                      <a:pt x="33" y="27"/>
                      <a:pt x="37" y="26"/>
                      <a:pt x="40" y="26"/>
                    </a:cubicBezTo>
                    <a:cubicBezTo>
                      <a:pt x="44" y="26"/>
                      <a:pt x="47" y="27"/>
                      <a:pt x="50" y="30"/>
                    </a:cubicBezTo>
                    <a:cubicBezTo>
                      <a:pt x="52" y="33"/>
                      <a:pt x="53" y="36"/>
                      <a:pt x="53" y="39"/>
                    </a:cubicBezTo>
                    <a:cubicBezTo>
                      <a:pt x="53" y="39"/>
                      <a:pt x="53" y="40"/>
                      <a:pt x="53" y="40"/>
                    </a:cubicBezTo>
                    <a:cubicBezTo>
                      <a:pt x="53" y="40"/>
                      <a:pt x="53" y="40"/>
                      <a:pt x="53" y="40"/>
                    </a:cubicBezTo>
                    <a:close/>
                    <a:moveTo>
                      <a:pt x="50" y="2"/>
                    </a:moveTo>
                    <a:lnTo>
                      <a:pt x="50" y="2"/>
                    </a:lnTo>
                    <a:lnTo>
                      <a:pt x="51" y="3"/>
                    </a:lnTo>
                    <a:lnTo>
                      <a:pt x="50" y="2"/>
                    </a:lnTo>
                    <a:cubicBezTo>
                      <a:pt x="47" y="1"/>
                      <a:pt x="44" y="0"/>
                      <a:pt x="40" y="0"/>
                    </a:cubicBezTo>
                    <a:cubicBezTo>
                      <a:pt x="18" y="0"/>
                      <a:pt x="1" y="18"/>
                      <a:pt x="0" y="40"/>
                    </a:cubicBezTo>
                    <a:cubicBezTo>
                      <a:pt x="0" y="45"/>
                      <a:pt x="1" y="50"/>
                      <a:pt x="3" y="55"/>
                    </a:cubicBezTo>
                    <a:cubicBezTo>
                      <a:pt x="5" y="60"/>
                      <a:pt x="8" y="64"/>
                      <a:pt x="12" y="68"/>
                    </a:cubicBezTo>
                    <a:cubicBezTo>
                      <a:pt x="15" y="71"/>
                      <a:pt x="20" y="74"/>
                      <a:pt x="25" y="76"/>
                    </a:cubicBezTo>
                    <a:cubicBezTo>
                      <a:pt x="29" y="78"/>
                      <a:pt x="35" y="79"/>
                      <a:pt x="40" y="79"/>
                    </a:cubicBezTo>
                    <a:cubicBezTo>
                      <a:pt x="46" y="79"/>
                      <a:pt x="51" y="78"/>
                      <a:pt x="56" y="76"/>
                    </a:cubicBezTo>
                    <a:cubicBezTo>
                      <a:pt x="61" y="74"/>
                      <a:pt x="65" y="71"/>
                      <a:pt x="68" y="68"/>
                    </a:cubicBezTo>
                    <a:cubicBezTo>
                      <a:pt x="72" y="64"/>
                      <a:pt x="75" y="60"/>
                      <a:pt x="77" y="55"/>
                    </a:cubicBezTo>
                    <a:cubicBezTo>
                      <a:pt x="79" y="50"/>
                      <a:pt x="80" y="45"/>
                      <a:pt x="80" y="40"/>
                    </a:cubicBezTo>
                    <a:cubicBezTo>
                      <a:pt x="80" y="22"/>
                      <a:pt x="67" y="6"/>
                      <a:pt x="50" y="2"/>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9" name="Freeform 294">
                <a:extLst>
                  <a:ext uri="{FF2B5EF4-FFF2-40B4-BE49-F238E27FC236}">
                    <a16:creationId xmlns:a16="http://schemas.microsoft.com/office/drawing/2014/main" id="{554D1C94-E92C-4986-9146-1EAB6F2B5906}"/>
                  </a:ext>
                </a:extLst>
              </p:cNvPr>
              <p:cNvSpPr>
                <a:spLocks/>
              </p:cNvSpPr>
              <p:nvPr/>
            </p:nvSpPr>
            <p:spPr bwMode="auto">
              <a:xfrm>
                <a:off x="2584" y="3578"/>
                <a:ext cx="50" cy="25"/>
              </a:xfrm>
              <a:custGeom>
                <a:avLst/>
                <a:gdLst>
                  <a:gd name="T0" fmla="*/ 68 w 80"/>
                  <a:gd name="T1" fmla="*/ 28 h 40"/>
                  <a:gd name="T2" fmla="*/ 68 w 80"/>
                  <a:gd name="T3" fmla="*/ 28 h 40"/>
                  <a:gd name="T4" fmla="*/ 55 w 80"/>
                  <a:gd name="T5" fmla="*/ 36 h 40"/>
                  <a:gd name="T6" fmla="*/ 40 w 80"/>
                  <a:gd name="T7" fmla="*/ 39 h 40"/>
                  <a:gd name="T8" fmla="*/ 24 w 80"/>
                  <a:gd name="T9" fmla="*/ 36 h 40"/>
                  <a:gd name="T10" fmla="*/ 11 w 80"/>
                  <a:gd name="T11" fmla="*/ 28 h 40"/>
                  <a:gd name="T12" fmla="*/ 3 w 80"/>
                  <a:gd name="T13" fmla="*/ 15 h 40"/>
                  <a:gd name="T14" fmla="*/ 0 w 80"/>
                  <a:gd name="T15" fmla="*/ 0 h 40"/>
                  <a:gd name="T16" fmla="*/ 0 w 80"/>
                  <a:gd name="T17" fmla="*/ 0 h 40"/>
                  <a:gd name="T18" fmla="*/ 40 w 80"/>
                  <a:gd name="T19" fmla="*/ 40 h 40"/>
                  <a:gd name="T20" fmla="*/ 80 w 80"/>
                  <a:gd name="T21" fmla="*/ 0 h 40"/>
                  <a:gd name="T22" fmla="*/ 80 w 80"/>
                  <a:gd name="T23" fmla="*/ 0 h 40"/>
                  <a:gd name="T24" fmla="*/ 77 w 80"/>
                  <a:gd name="T25" fmla="*/ 15 h 40"/>
                  <a:gd name="T26" fmla="*/ 68 w 80"/>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0">
                    <a:moveTo>
                      <a:pt x="68" y="28"/>
                    </a:moveTo>
                    <a:lnTo>
                      <a:pt x="68" y="28"/>
                    </a:lnTo>
                    <a:cubicBezTo>
                      <a:pt x="65" y="31"/>
                      <a:pt x="60" y="34"/>
                      <a:pt x="55" y="36"/>
                    </a:cubicBezTo>
                    <a:cubicBezTo>
                      <a:pt x="51" y="38"/>
                      <a:pt x="45" y="39"/>
                      <a:pt x="40" y="39"/>
                    </a:cubicBezTo>
                    <a:cubicBezTo>
                      <a:pt x="34" y="39"/>
                      <a:pt x="29" y="38"/>
                      <a:pt x="24" y="36"/>
                    </a:cubicBezTo>
                    <a:cubicBezTo>
                      <a:pt x="19" y="34"/>
                      <a:pt x="15" y="31"/>
                      <a:pt x="11" y="28"/>
                    </a:cubicBezTo>
                    <a:cubicBezTo>
                      <a:pt x="8" y="24"/>
                      <a:pt x="5" y="20"/>
                      <a:pt x="3" y="15"/>
                    </a:cubicBezTo>
                    <a:cubicBezTo>
                      <a:pt x="1" y="10"/>
                      <a:pt x="0" y="5"/>
                      <a:pt x="0" y="0"/>
                    </a:cubicBezTo>
                    <a:cubicBezTo>
                      <a:pt x="0" y="0"/>
                      <a:pt x="0" y="0"/>
                      <a:pt x="0" y="0"/>
                    </a:cubicBezTo>
                    <a:cubicBezTo>
                      <a:pt x="0" y="23"/>
                      <a:pt x="18" y="40"/>
                      <a:pt x="40" y="40"/>
                    </a:cubicBezTo>
                    <a:cubicBezTo>
                      <a:pt x="62" y="40"/>
                      <a:pt x="80" y="23"/>
                      <a:pt x="80" y="0"/>
                    </a:cubicBezTo>
                    <a:cubicBezTo>
                      <a:pt x="80" y="0"/>
                      <a:pt x="80" y="0"/>
                      <a:pt x="80" y="0"/>
                    </a:cubicBezTo>
                    <a:cubicBezTo>
                      <a:pt x="80" y="5"/>
                      <a:pt x="79" y="10"/>
                      <a:pt x="77" y="15"/>
                    </a:cubicBezTo>
                    <a:cubicBezTo>
                      <a:pt x="75" y="20"/>
                      <a:pt x="72" y="24"/>
                      <a:pt x="68" y="28"/>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0" name="Freeform 295">
                <a:extLst>
                  <a:ext uri="{FF2B5EF4-FFF2-40B4-BE49-F238E27FC236}">
                    <a16:creationId xmlns:a16="http://schemas.microsoft.com/office/drawing/2014/main" id="{1DB2C7AC-6504-436D-AC6F-A6172E69DFFB}"/>
                  </a:ext>
                </a:extLst>
              </p:cNvPr>
              <p:cNvSpPr>
                <a:spLocks/>
              </p:cNvSpPr>
              <p:nvPr/>
            </p:nvSpPr>
            <p:spPr bwMode="auto">
              <a:xfrm>
                <a:off x="2601" y="3570"/>
                <a:ext cx="16" cy="8"/>
              </a:xfrm>
              <a:custGeom>
                <a:avLst/>
                <a:gdLst>
                  <a:gd name="T0" fmla="*/ 22 w 26"/>
                  <a:gd name="T1" fmla="*/ 4 h 14"/>
                  <a:gd name="T2" fmla="*/ 22 w 26"/>
                  <a:gd name="T3" fmla="*/ 4 h 14"/>
                  <a:gd name="T4" fmla="*/ 13 w 26"/>
                  <a:gd name="T5" fmla="*/ 0 h 14"/>
                  <a:gd name="T6" fmla="*/ 3 w 26"/>
                  <a:gd name="T7" fmla="*/ 4 h 14"/>
                  <a:gd name="T8" fmla="*/ 0 w 26"/>
                  <a:gd name="T9" fmla="*/ 13 h 14"/>
                  <a:gd name="T10" fmla="*/ 0 w 26"/>
                  <a:gd name="T11" fmla="*/ 14 h 14"/>
                  <a:gd name="T12" fmla="*/ 13 w 26"/>
                  <a:gd name="T13" fmla="*/ 1 h 14"/>
                  <a:gd name="T14" fmla="*/ 26 w 26"/>
                  <a:gd name="T15" fmla="*/ 14 h 14"/>
                  <a:gd name="T16" fmla="*/ 26 w 26"/>
                  <a:gd name="T17" fmla="*/ 13 h 14"/>
                  <a:gd name="T18" fmla="*/ 22 w 26"/>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
                    <a:moveTo>
                      <a:pt x="22" y="4"/>
                    </a:moveTo>
                    <a:lnTo>
                      <a:pt x="22" y="4"/>
                    </a:lnTo>
                    <a:cubicBezTo>
                      <a:pt x="20" y="1"/>
                      <a:pt x="16" y="0"/>
                      <a:pt x="13" y="0"/>
                    </a:cubicBezTo>
                    <a:cubicBezTo>
                      <a:pt x="9" y="0"/>
                      <a:pt x="6" y="1"/>
                      <a:pt x="3" y="4"/>
                    </a:cubicBezTo>
                    <a:cubicBezTo>
                      <a:pt x="1" y="7"/>
                      <a:pt x="0" y="10"/>
                      <a:pt x="0" y="13"/>
                    </a:cubicBezTo>
                    <a:cubicBezTo>
                      <a:pt x="0" y="13"/>
                      <a:pt x="0" y="14"/>
                      <a:pt x="0" y="14"/>
                    </a:cubicBezTo>
                    <a:cubicBezTo>
                      <a:pt x="0" y="7"/>
                      <a:pt x="6" y="1"/>
                      <a:pt x="13" y="1"/>
                    </a:cubicBezTo>
                    <a:cubicBezTo>
                      <a:pt x="20" y="1"/>
                      <a:pt x="26" y="7"/>
                      <a:pt x="26" y="14"/>
                    </a:cubicBezTo>
                    <a:cubicBezTo>
                      <a:pt x="26" y="14"/>
                      <a:pt x="26" y="13"/>
                      <a:pt x="26" y="13"/>
                    </a:cubicBezTo>
                    <a:cubicBezTo>
                      <a:pt x="26" y="10"/>
                      <a:pt x="25" y="7"/>
                      <a:pt x="22" y="4"/>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1" name="Freeform 296">
                <a:extLst>
                  <a:ext uri="{FF2B5EF4-FFF2-40B4-BE49-F238E27FC236}">
                    <a16:creationId xmlns:a16="http://schemas.microsoft.com/office/drawing/2014/main" id="{518BD015-8848-4595-BF9E-7E626319D8CF}"/>
                  </a:ext>
                </a:extLst>
              </p:cNvPr>
              <p:cNvSpPr>
                <a:spLocks noEditPoints="1"/>
              </p:cNvSpPr>
              <p:nvPr/>
            </p:nvSpPr>
            <p:spPr bwMode="auto">
              <a:xfrm>
                <a:off x="2584" y="3554"/>
                <a:ext cx="50" cy="49"/>
              </a:xfrm>
              <a:custGeom>
                <a:avLst/>
                <a:gdLst>
                  <a:gd name="T0" fmla="*/ 53 w 80"/>
                  <a:gd name="T1" fmla="*/ 40 h 79"/>
                  <a:gd name="T2" fmla="*/ 53 w 80"/>
                  <a:gd name="T3" fmla="*/ 40 h 79"/>
                  <a:gd name="T4" fmla="*/ 40 w 80"/>
                  <a:gd name="T5" fmla="*/ 54 h 79"/>
                  <a:gd name="T6" fmla="*/ 26 w 80"/>
                  <a:gd name="T7" fmla="*/ 40 h 79"/>
                  <a:gd name="T8" fmla="*/ 27 w 80"/>
                  <a:gd name="T9" fmla="*/ 40 h 79"/>
                  <a:gd name="T10" fmla="*/ 26 w 80"/>
                  <a:gd name="T11" fmla="*/ 39 h 79"/>
                  <a:gd name="T12" fmla="*/ 30 w 80"/>
                  <a:gd name="T13" fmla="*/ 30 h 79"/>
                  <a:gd name="T14" fmla="*/ 40 w 80"/>
                  <a:gd name="T15" fmla="*/ 26 h 79"/>
                  <a:gd name="T16" fmla="*/ 49 w 80"/>
                  <a:gd name="T17" fmla="*/ 30 h 79"/>
                  <a:gd name="T18" fmla="*/ 53 w 80"/>
                  <a:gd name="T19" fmla="*/ 39 h 79"/>
                  <a:gd name="T20" fmla="*/ 53 w 80"/>
                  <a:gd name="T21" fmla="*/ 40 h 79"/>
                  <a:gd name="T22" fmla="*/ 53 w 80"/>
                  <a:gd name="T23" fmla="*/ 40 h 79"/>
                  <a:gd name="T24" fmla="*/ 40 w 80"/>
                  <a:gd name="T25" fmla="*/ 0 h 79"/>
                  <a:gd name="T26" fmla="*/ 40 w 80"/>
                  <a:gd name="T27" fmla="*/ 0 h 79"/>
                  <a:gd name="T28" fmla="*/ 0 w 80"/>
                  <a:gd name="T29" fmla="*/ 40 h 79"/>
                  <a:gd name="T30" fmla="*/ 3 w 80"/>
                  <a:gd name="T31" fmla="*/ 55 h 79"/>
                  <a:gd name="T32" fmla="*/ 11 w 80"/>
                  <a:gd name="T33" fmla="*/ 68 h 79"/>
                  <a:gd name="T34" fmla="*/ 24 w 80"/>
                  <a:gd name="T35" fmla="*/ 76 h 79"/>
                  <a:gd name="T36" fmla="*/ 40 w 80"/>
                  <a:gd name="T37" fmla="*/ 79 h 79"/>
                  <a:gd name="T38" fmla="*/ 55 w 80"/>
                  <a:gd name="T39" fmla="*/ 76 h 79"/>
                  <a:gd name="T40" fmla="*/ 68 w 80"/>
                  <a:gd name="T41" fmla="*/ 68 h 79"/>
                  <a:gd name="T42" fmla="*/ 77 w 80"/>
                  <a:gd name="T43" fmla="*/ 55 h 79"/>
                  <a:gd name="T44" fmla="*/ 80 w 80"/>
                  <a:gd name="T45" fmla="*/ 40 h 79"/>
                  <a:gd name="T46" fmla="*/ 40 w 80"/>
                  <a:gd name="T4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79">
                    <a:moveTo>
                      <a:pt x="53" y="40"/>
                    </a:moveTo>
                    <a:lnTo>
                      <a:pt x="53" y="40"/>
                    </a:lnTo>
                    <a:cubicBezTo>
                      <a:pt x="53" y="48"/>
                      <a:pt x="47" y="54"/>
                      <a:pt x="40" y="54"/>
                    </a:cubicBezTo>
                    <a:cubicBezTo>
                      <a:pt x="32" y="54"/>
                      <a:pt x="26" y="48"/>
                      <a:pt x="26" y="40"/>
                    </a:cubicBezTo>
                    <a:cubicBezTo>
                      <a:pt x="26" y="40"/>
                      <a:pt x="27" y="40"/>
                      <a:pt x="27" y="40"/>
                    </a:cubicBezTo>
                    <a:cubicBezTo>
                      <a:pt x="27" y="40"/>
                      <a:pt x="26" y="39"/>
                      <a:pt x="26" y="39"/>
                    </a:cubicBezTo>
                    <a:cubicBezTo>
                      <a:pt x="26" y="36"/>
                      <a:pt x="28" y="33"/>
                      <a:pt x="30" y="30"/>
                    </a:cubicBezTo>
                    <a:cubicBezTo>
                      <a:pt x="33" y="27"/>
                      <a:pt x="36" y="26"/>
                      <a:pt x="40" y="26"/>
                    </a:cubicBezTo>
                    <a:cubicBezTo>
                      <a:pt x="43" y="26"/>
                      <a:pt x="47" y="27"/>
                      <a:pt x="49" y="30"/>
                    </a:cubicBezTo>
                    <a:cubicBezTo>
                      <a:pt x="52" y="33"/>
                      <a:pt x="53" y="36"/>
                      <a:pt x="53" y="39"/>
                    </a:cubicBezTo>
                    <a:cubicBezTo>
                      <a:pt x="53" y="39"/>
                      <a:pt x="53" y="40"/>
                      <a:pt x="53" y="40"/>
                    </a:cubicBezTo>
                    <a:cubicBezTo>
                      <a:pt x="53" y="40"/>
                      <a:pt x="53" y="40"/>
                      <a:pt x="53" y="40"/>
                    </a:cubicBezTo>
                    <a:close/>
                    <a:moveTo>
                      <a:pt x="40" y="0"/>
                    </a:moveTo>
                    <a:lnTo>
                      <a:pt x="40" y="0"/>
                    </a:lnTo>
                    <a:cubicBezTo>
                      <a:pt x="18" y="0"/>
                      <a:pt x="0" y="18"/>
                      <a:pt x="0" y="40"/>
                    </a:cubicBezTo>
                    <a:cubicBezTo>
                      <a:pt x="0" y="45"/>
                      <a:pt x="1" y="50"/>
                      <a:pt x="3" y="55"/>
                    </a:cubicBezTo>
                    <a:cubicBezTo>
                      <a:pt x="5" y="60"/>
                      <a:pt x="8" y="64"/>
                      <a:pt x="11" y="68"/>
                    </a:cubicBezTo>
                    <a:cubicBezTo>
                      <a:pt x="15" y="71"/>
                      <a:pt x="19" y="74"/>
                      <a:pt x="24" y="76"/>
                    </a:cubicBezTo>
                    <a:cubicBezTo>
                      <a:pt x="29" y="78"/>
                      <a:pt x="34" y="79"/>
                      <a:pt x="40" y="79"/>
                    </a:cubicBezTo>
                    <a:cubicBezTo>
                      <a:pt x="45" y="79"/>
                      <a:pt x="51" y="78"/>
                      <a:pt x="55" y="76"/>
                    </a:cubicBezTo>
                    <a:cubicBezTo>
                      <a:pt x="60" y="74"/>
                      <a:pt x="65" y="71"/>
                      <a:pt x="68" y="68"/>
                    </a:cubicBezTo>
                    <a:cubicBezTo>
                      <a:pt x="72" y="64"/>
                      <a:pt x="75" y="60"/>
                      <a:pt x="77" y="55"/>
                    </a:cubicBezTo>
                    <a:cubicBezTo>
                      <a:pt x="79" y="50"/>
                      <a:pt x="80" y="45"/>
                      <a:pt x="80" y="40"/>
                    </a:cubicBezTo>
                    <a:cubicBezTo>
                      <a:pt x="79" y="18"/>
                      <a:pt x="62" y="0"/>
                      <a:pt x="4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75" name="TextBox 74">
            <a:extLst>
              <a:ext uri="{FF2B5EF4-FFF2-40B4-BE49-F238E27FC236}">
                <a16:creationId xmlns:a16="http://schemas.microsoft.com/office/drawing/2014/main" id="{617D6DFA-57A9-4812-AFB2-3E9226594D47}"/>
              </a:ext>
            </a:extLst>
          </p:cNvPr>
          <p:cNvSpPr txBox="1"/>
          <p:nvPr/>
        </p:nvSpPr>
        <p:spPr>
          <a:xfrm>
            <a:off x="3426068" y="2901979"/>
            <a:ext cx="1134798"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hlinkClick r:id="rId20">
                  <a:extLst>
                    <a:ext uri="{A12FA001-AC4F-418D-AE19-62706E023703}">
                      <ahyp:hlinkClr xmlns:ahyp="http://schemas.microsoft.com/office/drawing/2018/hyperlinkcolor" val="tx"/>
                    </a:ext>
                  </a:extLst>
                </a:hlinkClick>
              </a:rPr>
              <a:t>Learn more</a:t>
            </a:r>
            <a:endParaRPr kumimoji="0" lang="en-US" sz="1200" b="0" i="0" u="none" strike="noStrike" kern="1200" cap="none" spc="0" normalizeH="0" baseline="0" noProof="0">
              <a:ln>
                <a:noFill/>
              </a:ln>
              <a:gradFill>
                <a:gsLst>
                  <a:gs pos="2917">
                    <a:srgbClr val="5C005C"/>
                  </a:gs>
                  <a:gs pos="100000">
                    <a:srgbClr val="5C005C"/>
                  </a:gs>
                </a:gsLst>
                <a:lin ang="5400000" scaled="0"/>
              </a:gradFill>
              <a:effectLst/>
              <a:uLnTx/>
              <a:uFillTx/>
              <a:latin typeface="Segoe UI Semilight"/>
              <a:ea typeface="+mn-ea"/>
              <a:cs typeface="+mn-cs"/>
            </a:endParaRPr>
          </a:p>
        </p:txBody>
      </p:sp>
      <p:grpSp>
        <p:nvGrpSpPr>
          <p:cNvPr id="85" name="Group 84">
            <a:extLst>
              <a:ext uri="{FF2B5EF4-FFF2-40B4-BE49-F238E27FC236}">
                <a16:creationId xmlns:a16="http://schemas.microsoft.com/office/drawing/2014/main" id="{8BE93FA3-079C-4E56-98CD-449514681192}"/>
              </a:ext>
            </a:extLst>
          </p:cNvPr>
          <p:cNvGrpSpPr/>
          <p:nvPr/>
        </p:nvGrpSpPr>
        <p:grpSpPr>
          <a:xfrm>
            <a:off x="5382356" y="2760449"/>
            <a:ext cx="407691" cy="412355"/>
            <a:chOff x="6938516" y="7120653"/>
            <a:chExt cx="407691" cy="412355"/>
          </a:xfrm>
        </p:grpSpPr>
        <p:sp>
          <p:nvSpPr>
            <p:cNvPr id="86" name="Oval 85">
              <a:extLst>
                <a:ext uri="{FF2B5EF4-FFF2-40B4-BE49-F238E27FC236}">
                  <a16:creationId xmlns:a16="http://schemas.microsoft.com/office/drawing/2014/main" id="{A252B49A-F02C-405C-A30C-CEAA821F8E3B}"/>
                </a:ext>
              </a:extLst>
            </p:cNvPr>
            <p:cNvSpPr/>
            <p:nvPr/>
          </p:nvSpPr>
          <p:spPr bwMode="auto">
            <a:xfrm rot="5400000">
              <a:off x="6936184" y="7122985"/>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87" name="Graphic 86" descr="Airplane">
              <a:extLst>
                <a:ext uri="{FF2B5EF4-FFF2-40B4-BE49-F238E27FC236}">
                  <a16:creationId xmlns:a16="http://schemas.microsoft.com/office/drawing/2014/main" id="{EB110D8C-2C15-4F06-9806-47D7E31908D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6971477" y="7166046"/>
              <a:ext cx="331771" cy="331771"/>
            </a:xfrm>
            <a:prstGeom prst="rect">
              <a:avLst/>
            </a:prstGeom>
          </p:spPr>
        </p:pic>
      </p:grpSp>
      <p:pic>
        <p:nvPicPr>
          <p:cNvPr id="88" name="Picture 6" descr="Image result for heathrow logo">
            <a:extLst>
              <a:ext uri="{FF2B5EF4-FFF2-40B4-BE49-F238E27FC236}">
                <a16:creationId xmlns:a16="http://schemas.microsoft.com/office/drawing/2014/main" id="{85823F68-5CB1-4376-88E6-99AB9C6B0F45}"/>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7431" t="28002" r="7294" b="31119"/>
          <a:stretch/>
        </p:blipFill>
        <p:spPr bwMode="auto">
          <a:xfrm>
            <a:off x="3556631" y="2659110"/>
            <a:ext cx="966770" cy="226577"/>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6AFD8178-0BA1-4528-B3D9-227E9BC41776}"/>
              </a:ext>
            </a:extLst>
          </p:cNvPr>
          <p:cNvPicPr>
            <a:picLocks noChangeAspect="1"/>
          </p:cNvPicPr>
          <p:nvPr/>
        </p:nvPicPr>
        <p:blipFill rotWithShape="1">
          <a:blip r:embed="rId22"/>
          <a:srcRect l="3071" r="3071"/>
          <a:stretch/>
        </p:blipFill>
        <p:spPr>
          <a:xfrm>
            <a:off x="3569492" y="1082626"/>
            <a:ext cx="2194560" cy="1371600"/>
          </a:xfrm>
          <a:prstGeom prst="rect">
            <a:avLst/>
          </a:prstGeom>
          <a:effectLst>
            <a:outerShdw blurRad="190500" dist="76200" dir="2700000" algn="tl" rotWithShape="0">
              <a:prstClr val="black">
                <a:alpha val="40000"/>
              </a:prstClr>
            </a:outerShdw>
          </a:effectLst>
        </p:spPr>
      </p:pic>
      <p:pic>
        <p:nvPicPr>
          <p:cNvPr id="6146" name="Picture 2" descr="See the source image">
            <a:extLst>
              <a:ext uri="{FF2B5EF4-FFF2-40B4-BE49-F238E27FC236}">
                <a16:creationId xmlns:a16="http://schemas.microsoft.com/office/drawing/2014/main" id="{B99EC2CB-C214-4252-BA1A-E614F6E8FEEF}"/>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364644" y="5079164"/>
            <a:ext cx="1043894" cy="34293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See the source image">
            <a:extLst>
              <a:ext uri="{FF2B5EF4-FFF2-40B4-BE49-F238E27FC236}">
                <a16:creationId xmlns:a16="http://schemas.microsoft.com/office/drawing/2014/main" id="{7F1692FD-E5D5-4FFA-82E4-B359D7C032F4}"/>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t="6478" b="1"/>
          <a:stretch/>
        </p:blipFill>
        <p:spPr bwMode="auto">
          <a:xfrm>
            <a:off x="6309242" y="3526372"/>
            <a:ext cx="2194560" cy="1371599"/>
          </a:xfrm>
          <a:prstGeom prst="rect">
            <a:avLst/>
          </a:prstGeom>
          <a:noFill/>
          <a:effectLst>
            <a:outerShdw blurRad="190500" dist="76200" dir="27000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4B99079-1480-4F51-AF3B-F319A4B9C82C}"/>
              </a:ext>
            </a:extLst>
          </p:cNvPr>
          <p:cNvGrpSpPr/>
          <p:nvPr/>
        </p:nvGrpSpPr>
        <p:grpSpPr>
          <a:xfrm>
            <a:off x="8087040" y="5252129"/>
            <a:ext cx="407691" cy="412355"/>
            <a:chOff x="8156791" y="4833210"/>
            <a:chExt cx="407691" cy="412355"/>
          </a:xfrm>
        </p:grpSpPr>
        <p:sp>
          <p:nvSpPr>
            <p:cNvPr id="83" name="Oval 82">
              <a:extLst>
                <a:ext uri="{FF2B5EF4-FFF2-40B4-BE49-F238E27FC236}">
                  <a16:creationId xmlns:a16="http://schemas.microsoft.com/office/drawing/2014/main" id="{E91DB2D2-8116-489A-AB5C-71DF87D8E2C0}"/>
                </a:ext>
              </a:extLst>
            </p:cNvPr>
            <p:cNvSpPr/>
            <p:nvPr/>
          </p:nvSpPr>
          <p:spPr bwMode="auto">
            <a:xfrm rot="5400000">
              <a:off x="8154459" y="4835542"/>
              <a:ext cx="412355" cy="407691"/>
            </a:xfrm>
            <a:prstGeom prst="ellipse">
              <a:avLst/>
            </a:prstGeom>
            <a:solidFill>
              <a:schemeClr val="bg1"/>
            </a:solidFill>
            <a:ln w="10795" cap="flat" cmpd="sng" algn="ctr">
              <a:noFill/>
              <a:prstDash val="solid"/>
            </a:ln>
            <a:effectLst>
              <a:outerShdw blurRad="190500" dist="76200" dir="2700000" algn="tl" rotWithShape="0">
                <a:prstClr val="black">
                  <a:alpha val="4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6150" name="Picture 6" descr="See the source image">
              <a:extLst>
                <a:ext uri="{FF2B5EF4-FFF2-40B4-BE49-F238E27FC236}">
                  <a16:creationId xmlns:a16="http://schemas.microsoft.com/office/drawing/2014/main" id="{47365F8C-E91B-4B11-97D7-330E139C4530}"/>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200491" y="4869684"/>
              <a:ext cx="318347" cy="318347"/>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Title 3">
            <a:extLst>
              <a:ext uri="{FF2B5EF4-FFF2-40B4-BE49-F238E27FC236}">
                <a16:creationId xmlns:a16="http://schemas.microsoft.com/office/drawing/2014/main" id="{51297EEA-EB45-443C-91CD-80CB8A94765B}"/>
              </a:ext>
            </a:extLst>
          </p:cNvPr>
          <p:cNvSpPr>
            <a:spLocks noGrp="1"/>
          </p:cNvSpPr>
          <p:nvPr>
            <p:ph type="title"/>
          </p:nvPr>
        </p:nvSpPr>
        <p:spPr>
          <a:xfrm>
            <a:off x="428518" y="389032"/>
            <a:ext cx="11306469" cy="425950"/>
          </a:xfrm>
        </p:spPr>
        <p:txBody>
          <a:bodyPr/>
          <a:lstStyle/>
          <a:p>
            <a:r>
              <a:rPr lang="en-US" sz="4000" spc="-50" dirty="0">
                <a:solidFill>
                  <a:srgbClr val="742774"/>
                </a:solidFill>
                <a:latin typeface="SEGOE UI REGULAR"/>
                <a:cs typeface="+mn-cs"/>
              </a:rPr>
              <a:t>Incredible customer stories</a:t>
            </a:r>
          </a:p>
        </p:txBody>
      </p:sp>
      <p:pic>
        <p:nvPicPr>
          <p:cNvPr id="74" name="Picture 73">
            <a:extLst>
              <a:ext uri="{FF2B5EF4-FFF2-40B4-BE49-F238E27FC236}">
                <a16:creationId xmlns:a16="http://schemas.microsoft.com/office/drawing/2014/main" id="{CF646035-3AB8-4C11-B82A-114EDCB03450}"/>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t="38118" b="29246"/>
          <a:stretch/>
        </p:blipFill>
        <p:spPr>
          <a:xfrm>
            <a:off x="6185653" y="2658765"/>
            <a:ext cx="1482059" cy="360000"/>
          </a:xfrm>
          <a:prstGeom prst="rect">
            <a:avLst/>
          </a:prstGeom>
        </p:spPr>
      </p:pic>
      <p:pic>
        <p:nvPicPr>
          <p:cNvPr id="2" name="Picture 1">
            <a:extLst>
              <a:ext uri="{FF2B5EF4-FFF2-40B4-BE49-F238E27FC236}">
                <a16:creationId xmlns:a16="http://schemas.microsoft.com/office/drawing/2014/main" id="{032CE56D-CC3B-49DF-A4E8-4AA155645658}"/>
              </a:ext>
            </a:extLst>
          </p:cNvPr>
          <p:cNvPicPr>
            <a:picLocks noChangeAspect="1"/>
          </p:cNvPicPr>
          <p:nvPr/>
        </p:nvPicPr>
        <p:blipFill rotWithShape="1">
          <a:blip r:embed="rId27"/>
          <a:srcRect l="50463" r="7857"/>
          <a:stretch/>
        </p:blipFill>
        <p:spPr>
          <a:xfrm>
            <a:off x="6309242" y="1078058"/>
            <a:ext cx="2194561" cy="1371600"/>
          </a:xfrm>
          <a:prstGeom prst="rect">
            <a:avLst/>
          </a:prstGeom>
          <a:effectLst>
            <a:outerShdw blurRad="190500" dist="76200" dir="2700000" algn="ctr" rotWithShape="0">
              <a:prstClr val="black">
                <a:alpha val="40000"/>
              </a:prstClr>
            </a:outerShdw>
          </a:effectLst>
        </p:spPr>
      </p:pic>
      <p:pic>
        <p:nvPicPr>
          <p:cNvPr id="13" name="Picture 12">
            <a:extLst>
              <a:ext uri="{FF2B5EF4-FFF2-40B4-BE49-F238E27FC236}">
                <a16:creationId xmlns:a16="http://schemas.microsoft.com/office/drawing/2014/main" id="{FD9C8C36-EBF0-4711-A294-241E3F1665AE}"/>
              </a:ext>
            </a:extLst>
          </p:cNvPr>
          <p:cNvPicPr>
            <a:picLocks noChangeAspect="1"/>
          </p:cNvPicPr>
          <p:nvPr/>
        </p:nvPicPr>
        <p:blipFill rotWithShape="1">
          <a:blip r:embed="rId28"/>
          <a:srcRect l="12594" t="26068" r="13857" b="27592"/>
          <a:stretch/>
        </p:blipFill>
        <p:spPr>
          <a:xfrm>
            <a:off x="9046396" y="4940203"/>
            <a:ext cx="814675" cy="513285"/>
          </a:xfrm>
          <a:prstGeom prst="rect">
            <a:avLst/>
          </a:prstGeom>
        </p:spPr>
      </p:pic>
      <p:pic>
        <p:nvPicPr>
          <p:cNvPr id="16" name="Picture 15">
            <a:extLst>
              <a:ext uri="{FF2B5EF4-FFF2-40B4-BE49-F238E27FC236}">
                <a16:creationId xmlns:a16="http://schemas.microsoft.com/office/drawing/2014/main" id="{161E6B97-78E5-4E01-8596-AA904AA1D937}"/>
              </a:ext>
            </a:extLst>
          </p:cNvPr>
          <p:cNvPicPr>
            <a:picLocks noChangeAspect="1"/>
          </p:cNvPicPr>
          <p:nvPr/>
        </p:nvPicPr>
        <p:blipFill>
          <a:blip r:embed="rId29"/>
          <a:stretch>
            <a:fillRect/>
          </a:stretch>
        </p:blipFill>
        <p:spPr>
          <a:xfrm>
            <a:off x="9002913" y="3375020"/>
            <a:ext cx="2584928" cy="1761897"/>
          </a:xfrm>
          <a:prstGeom prst="rect">
            <a:avLst/>
          </a:prstGeom>
        </p:spPr>
      </p:pic>
    </p:spTree>
    <p:extLst>
      <p:ext uri="{BB962C8B-B14F-4D97-AF65-F5344CB8AC3E}">
        <p14:creationId xmlns:p14="http://schemas.microsoft.com/office/powerpoint/2010/main" val="131662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FE90F0-5968-4215-AE9B-E628146C8D5D}"/>
              </a:ext>
            </a:extLst>
          </p:cNvPr>
          <p:cNvSpPr txBox="1"/>
          <p:nvPr/>
        </p:nvSpPr>
        <p:spPr>
          <a:xfrm>
            <a:off x="225469" y="363255"/>
            <a:ext cx="8275342" cy="1149545"/>
          </a:xfrm>
          <a:prstGeom prst="rect">
            <a:avLst/>
          </a:prstGeom>
          <a:noFill/>
        </p:spPr>
        <p:txBody>
          <a:bodyPr wrap="none" lIns="182880" tIns="146304" rIns="182880" bIns="146304" rtlCol="0">
            <a:spAutoFit/>
          </a:bodyPr>
          <a:lstStyle/>
          <a:p>
            <a:pPr>
              <a:lnSpc>
                <a:spcPct val="90000"/>
              </a:lnSpc>
              <a:spcAft>
                <a:spcPts val="600"/>
              </a:spcAft>
            </a:pPr>
            <a:r>
              <a:rPr lang="en-GB" sz="6000" b="1" dirty="0">
                <a:gradFill>
                  <a:gsLst>
                    <a:gs pos="2917">
                      <a:schemeClr val="tx1"/>
                    </a:gs>
                    <a:gs pos="30000">
                      <a:schemeClr val="tx1"/>
                    </a:gs>
                  </a:gsLst>
                  <a:lin ang="5400000" scaled="0"/>
                </a:gradFill>
                <a:latin typeface="scribble" panose="02000503000000000000" pitchFamily="2" charset="0"/>
              </a:rPr>
              <a:t>The Demo Story…….</a:t>
            </a:r>
          </a:p>
        </p:txBody>
      </p:sp>
      <p:sp>
        <p:nvSpPr>
          <p:cNvPr id="3" name="TextBox 2">
            <a:extLst>
              <a:ext uri="{FF2B5EF4-FFF2-40B4-BE49-F238E27FC236}">
                <a16:creationId xmlns:a16="http://schemas.microsoft.com/office/drawing/2014/main" id="{5BA819F4-AE58-4C02-A894-BB45141A246B}"/>
              </a:ext>
            </a:extLst>
          </p:cNvPr>
          <p:cNvSpPr txBox="1"/>
          <p:nvPr/>
        </p:nvSpPr>
        <p:spPr>
          <a:xfrm>
            <a:off x="225469" y="1512800"/>
            <a:ext cx="11073008" cy="512755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GB" sz="4000" dirty="0">
                <a:gradFill>
                  <a:gsLst>
                    <a:gs pos="2917">
                      <a:schemeClr val="tx1"/>
                    </a:gs>
                    <a:gs pos="30000">
                      <a:schemeClr val="tx1"/>
                    </a:gs>
                  </a:gsLst>
                  <a:lin ang="5400000" scaled="0"/>
                </a:gradFill>
                <a:latin typeface="scribble" panose="02000503000000000000" pitchFamily="2" charset="0"/>
              </a:rPr>
              <a:t>You live in a house / building and you are TIRED of stuff going wrong.</a:t>
            </a:r>
          </a:p>
          <a:p>
            <a:pPr>
              <a:lnSpc>
                <a:spcPct val="90000"/>
              </a:lnSpc>
              <a:spcAft>
                <a:spcPts val="600"/>
              </a:spcAft>
            </a:pPr>
            <a:endParaRPr lang="en-GB" sz="4000" dirty="0">
              <a:gradFill>
                <a:gsLst>
                  <a:gs pos="2917">
                    <a:schemeClr val="tx1"/>
                  </a:gs>
                  <a:gs pos="30000">
                    <a:schemeClr val="tx1"/>
                  </a:gs>
                </a:gsLst>
                <a:lin ang="5400000" scaled="0"/>
              </a:gradFill>
              <a:latin typeface="scribble" panose="02000503000000000000" pitchFamily="2" charset="0"/>
            </a:endParaRPr>
          </a:p>
          <a:p>
            <a:pPr marL="342900" indent="-342900">
              <a:lnSpc>
                <a:spcPct val="90000"/>
              </a:lnSpc>
              <a:spcAft>
                <a:spcPts val="600"/>
              </a:spcAft>
              <a:buFont typeface="Arial" panose="020B0604020202020204" pitchFamily="34" charset="0"/>
              <a:buChar char="•"/>
            </a:pPr>
            <a:r>
              <a:rPr lang="en-GB" sz="4000" dirty="0">
                <a:gradFill>
                  <a:gsLst>
                    <a:gs pos="2917">
                      <a:schemeClr val="tx1"/>
                    </a:gs>
                    <a:gs pos="30000">
                      <a:schemeClr val="tx1"/>
                    </a:gs>
                  </a:gsLst>
                  <a:lin ang="5400000" scaled="0"/>
                </a:gradFill>
                <a:latin typeface="scribble" panose="02000503000000000000" pitchFamily="2" charset="0"/>
              </a:rPr>
              <a:t>You want to log a complaint!</a:t>
            </a:r>
          </a:p>
          <a:p>
            <a:pPr>
              <a:lnSpc>
                <a:spcPct val="90000"/>
              </a:lnSpc>
              <a:spcAft>
                <a:spcPts val="600"/>
              </a:spcAft>
            </a:pPr>
            <a:endParaRPr lang="en-GB" sz="4000" dirty="0">
              <a:gradFill>
                <a:gsLst>
                  <a:gs pos="2917">
                    <a:schemeClr val="tx1"/>
                  </a:gs>
                  <a:gs pos="30000">
                    <a:schemeClr val="tx1"/>
                  </a:gs>
                </a:gsLst>
                <a:lin ang="5400000" scaled="0"/>
              </a:gradFill>
              <a:latin typeface="scribble" panose="02000503000000000000" pitchFamily="2" charset="0"/>
            </a:endParaRPr>
          </a:p>
          <a:p>
            <a:pPr marL="342900" indent="-342900">
              <a:lnSpc>
                <a:spcPct val="90000"/>
              </a:lnSpc>
              <a:spcAft>
                <a:spcPts val="600"/>
              </a:spcAft>
              <a:buFont typeface="Arial" panose="020B0604020202020204" pitchFamily="34" charset="0"/>
              <a:buChar char="•"/>
            </a:pPr>
            <a:r>
              <a:rPr lang="en-GB" sz="4000" dirty="0">
                <a:gradFill>
                  <a:gsLst>
                    <a:gs pos="2917">
                      <a:schemeClr val="tx1"/>
                    </a:gs>
                    <a:gs pos="30000">
                      <a:schemeClr val="tx1"/>
                    </a:gs>
                  </a:gsLst>
                  <a:lin ang="5400000" scaled="0"/>
                </a:gradFill>
                <a:latin typeface="scribble" panose="02000503000000000000" pitchFamily="2" charset="0"/>
              </a:rPr>
              <a:t>You go onto the council portal and fill out the form… with Intentional, focused anger!</a:t>
            </a:r>
          </a:p>
        </p:txBody>
      </p:sp>
      <p:pic>
        <p:nvPicPr>
          <p:cNvPr id="3074" name="Picture 2" descr="An angry stickman by Tama-chun on DeviantArt">
            <a:extLst>
              <a:ext uri="{FF2B5EF4-FFF2-40B4-BE49-F238E27FC236}">
                <a16:creationId xmlns:a16="http://schemas.microsoft.com/office/drawing/2014/main" id="{482F948D-79D8-4C0D-9958-9BAB64B7D5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0641" y="2091846"/>
            <a:ext cx="1403641" cy="249639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5751C41-2E8D-4E7A-8BA2-1D61ACA4E869}"/>
              </a:ext>
            </a:extLst>
          </p:cNvPr>
          <p:cNvSpPr txBox="1"/>
          <p:nvPr/>
        </p:nvSpPr>
        <p:spPr>
          <a:xfrm rot="19035521">
            <a:off x="9575199" y="2901075"/>
            <a:ext cx="2047676" cy="877933"/>
          </a:xfrm>
          <a:prstGeom prst="rect">
            <a:avLst/>
          </a:prstGeom>
          <a:noFill/>
        </p:spPr>
        <p:txBody>
          <a:bodyPr wrap="none" lIns="182880" tIns="146304" rIns="182880" bIns="146304" rtlCol="0">
            <a:spAutoFit/>
          </a:bodyPr>
          <a:lstStyle/>
          <a:p>
            <a:pPr>
              <a:lnSpc>
                <a:spcPct val="90000"/>
              </a:lnSpc>
              <a:spcAft>
                <a:spcPts val="600"/>
              </a:spcAft>
            </a:pPr>
            <a:r>
              <a:rPr lang="en-GB" dirty="0">
                <a:gradFill>
                  <a:gsLst>
                    <a:gs pos="2917">
                      <a:schemeClr val="tx1"/>
                    </a:gs>
                    <a:gs pos="30000">
                      <a:schemeClr val="tx1"/>
                    </a:gs>
                  </a:gsLst>
                  <a:lin ang="5400000" scaled="0"/>
                </a:gradFill>
                <a:latin typeface="scribble" panose="02000503000000000000" pitchFamily="2" charset="0"/>
              </a:rPr>
              <a:t>Drawn by Chris</a:t>
            </a:r>
          </a:p>
          <a:p>
            <a:pPr>
              <a:lnSpc>
                <a:spcPct val="90000"/>
              </a:lnSpc>
              <a:spcAft>
                <a:spcPts val="600"/>
              </a:spcAft>
            </a:pPr>
            <a:r>
              <a:rPr lang="en-GB" dirty="0">
                <a:gradFill>
                  <a:gsLst>
                    <a:gs pos="2917">
                      <a:schemeClr val="tx1"/>
                    </a:gs>
                    <a:gs pos="30000">
                      <a:schemeClr val="tx1"/>
                    </a:gs>
                  </a:gsLst>
                  <a:lin ang="5400000" scaled="0"/>
                </a:gradFill>
                <a:latin typeface="scribble" panose="02000503000000000000" pitchFamily="2" charset="0"/>
              </a:rPr>
              <a:t>Age 36</a:t>
            </a:r>
          </a:p>
        </p:txBody>
      </p:sp>
    </p:spTree>
    <p:extLst>
      <p:ext uri="{BB962C8B-B14F-4D97-AF65-F5344CB8AC3E}">
        <p14:creationId xmlns:p14="http://schemas.microsoft.com/office/powerpoint/2010/main" val="1184753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Image result for comic arrow">
            <a:extLst>
              <a:ext uri="{FF2B5EF4-FFF2-40B4-BE49-F238E27FC236}">
                <a16:creationId xmlns:a16="http://schemas.microsoft.com/office/drawing/2014/main" id="{D922680E-8861-4134-8F13-55E4472611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8593171">
            <a:off x="7105493" y="1755477"/>
            <a:ext cx="3524250" cy="24384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icture containing indoor, black, piece, small&#10;&#10;Description automatically generated">
            <a:extLst>
              <a:ext uri="{FF2B5EF4-FFF2-40B4-BE49-F238E27FC236}">
                <a16:creationId xmlns:a16="http://schemas.microsoft.com/office/drawing/2014/main" id="{A0D8472F-5C0A-41C9-9E25-F5A8E08565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1502" y="643308"/>
            <a:ext cx="5914898" cy="5914898"/>
          </a:xfrm>
          <a:prstGeom prst="rect">
            <a:avLst/>
          </a:prstGeom>
        </p:spPr>
      </p:pic>
      <p:pic>
        <p:nvPicPr>
          <p:cNvPr id="1026" name="Picture 2" descr="Image result for Lego Mini Fig">
            <a:extLst>
              <a:ext uri="{FF2B5EF4-FFF2-40B4-BE49-F238E27FC236}">
                <a16:creationId xmlns:a16="http://schemas.microsoft.com/office/drawing/2014/main" id="{1257D580-7440-4316-8A91-BD81CA07C7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43999" y="3946906"/>
            <a:ext cx="2611300" cy="26113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7C37944-0C37-44E6-AAD6-D1E6B3A9A556}"/>
              </a:ext>
            </a:extLst>
          </p:cNvPr>
          <p:cNvSpPr txBox="1"/>
          <p:nvPr/>
        </p:nvSpPr>
        <p:spPr>
          <a:xfrm>
            <a:off x="7286017" y="389106"/>
            <a:ext cx="4569136" cy="110799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200" b="0" i="0" u="none" strike="noStrike" kern="1200" cap="none" spc="0" normalizeH="0" baseline="0" noProof="0" dirty="0">
                <a:ln>
                  <a:noFill/>
                </a:ln>
                <a:solidFill>
                  <a:srgbClr val="1A1A1A"/>
                </a:solidFill>
                <a:effectLst/>
                <a:uLnTx/>
                <a:uFillTx/>
                <a:latin typeface="orange juice" panose="02000000000000000000" pitchFamily="2" charset="0"/>
                <a:ea typeface="+mn-ea"/>
                <a:cs typeface="+mn-cs"/>
              </a:rPr>
              <a:t>SCAN THIS : </a:t>
            </a:r>
          </a:p>
        </p:txBody>
      </p:sp>
    </p:spTree>
    <p:extLst>
      <p:ext uri="{BB962C8B-B14F-4D97-AF65-F5344CB8AC3E}">
        <p14:creationId xmlns:p14="http://schemas.microsoft.com/office/powerpoint/2010/main" val="21667399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AC48B-0406-458D-BAEB-406C6A43FA08}"/>
              </a:ext>
            </a:extLst>
          </p:cNvPr>
          <p:cNvSpPr>
            <a:spLocks noGrp="1"/>
          </p:cNvSpPr>
          <p:nvPr>
            <p:ph type="title"/>
          </p:nvPr>
        </p:nvSpPr>
        <p:spPr/>
        <p:txBody>
          <a:bodyPr/>
          <a:lstStyle/>
          <a:p>
            <a:r>
              <a:rPr lang="en-GB" dirty="0"/>
              <a:t>Todays Agenda (Virtual)</a:t>
            </a:r>
          </a:p>
        </p:txBody>
      </p:sp>
      <p:graphicFrame>
        <p:nvGraphicFramePr>
          <p:cNvPr id="4" name="Table 4">
            <a:extLst>
              <a:ext uri="{FF2B5EF4-FFF2-40B4-BE49-F238E27FC236}">
                <a16:creationId xmlns:a16="http://schemas.microsoft.com/office/drawing/2014/main" id="{0FF57792-0DC5-419E-9F50-EBA5DAD1FF8C}"/>
              </a:ext>
            </a:extLst>
          </p:cNvPr>
          <p:cNvGraphicFramePr>
            <a:graphicFrameLocks noGrp="1"/>
          </p:cNvGraphicFramePr>
          <p:nvPr>
            <p:extLst>
              <p:ext uri="{D42A27DB-BD31-4B8C-83A1-F6EECF244321}">
                <p14:modId xmlns:p14="http://schemas.microsoft.com/office/powerpoint/2010/main" val="2550775069"/>
              </p:ext>
            </p:extLst>
          </p:nvPr>
        </p:nvGraphicFramePr>
        <p:xfrm>
          <a:off x="838200" y="1969363"/>
          <a:ext cx="10515600" cy="4079240"/>
        </p:xfrm>
        <a:graphic>
          <a:graphicData uri="http://schemas.openxmlformats.org/drawingml/2006/table">
            <a:tbl>
              <a:tblPr firstRow="1" bandRow="1">
                <a:tableStyleId>{5C22544A-7EE6-4342-B048-85BDC9FD1C3A}</a:tableStyleId>
              </a:tblPr>
              <a:tblGrid>
                <a:gridCol w="2012986">
                  <a:extLst>
                    <a:ext uri="{9D8B030D-6E8A-4147-A177-3AD203B41FA5}">
                      <a16:colId xmlns:a16="http://schemas.microsoft.com/office/drawing/2014/main" val="1637431433"/>
                    </a:ext>
                  </a:extLst>
                </a:gridCol>
                <a:gridCol w="5734740">
                  <a:extLst>
                    <a:ext uri="{9D8B030D-6E8A-4147-A177-3AD203B41FA5}">
                      <a16:colId xmlns:a16="http://schemas.microsoft.com/office/drawing/2014/main" val="2700971428"/>
                    </a:ext>
                  </a:extLst>
                </a:gridCol>
                <a:gridCol w="2767874">
                  <a:extLst>
                    <a:ext uri="{9D8B030D-6E8A-4147-A177-3AD203B41FA5}">
                      <a16:colId xmlns:a16="http://schemas.microsoft.com/office/drawing/2014/main" val="2070233388"/>
                    </a:ext>
                  </a:extLst>
                </a:gridCol>
              </a:tblGrid>
              <a:tr h="370840">
                <a:tc>
                  <a:txBody>
                    <a:bodyPr/>
                    <a:lstStyle/>
                    <a:p>
                      <a:r>
                        <a:rPr lang="en-GB" dirty="0"/>
                        <a:t>Time</a:t>
                      </a:r>
                    </a:p>
                  </a:txBody>
                  <a:tcPr/>
                </a:tc>
                <a:tc>
                  <a:txBody>
                    <a:bodyPr/>
                    <a:lstStyle/>
                    <a:p>
                      <a:r>
                        <a:rPr lang="en-GB" dirty="0"/>
                        <a:t>Session</a:t>
                      </a:r>
                    </a:p>
                  </a:txBody>
                  <a:tcPr/>
                </a:tc>
                <a:tc>
                  <a:txBody>
                    <a:bodyPr/>
                    <a:lstStyle/>
                    <a:p>
                      <a:r>
                        <a:rPr lang="en-GB" dirty="0"/>
                        <a:t>Presenter</a:t>
                      </a:r>
                    </a:p>
                  </a:txBody>
                  <a:tcPr/>
                </a:tc>
                <a:extLst>
                  <a:ext uri="{0D108BD9-81ED-4DB2-BD59-A6C34878D82A}">
                    <a16:rowId xmlns:a16="http://schemas.microsoft.com/office/drawing/2014/main" val="850742803"/>
                  </a:ext>
                </a:extLst>
              </a:tr>
              <a:tr h="370840">
                <a:tc>
                  <a:txBody>
                    <a:bodyPr/>
                    <a:lstStyle/>
                    <a:p>
                      <a:r>
                        <a:rPr lang="en-GB" dirty="0"/>
                        <a:t>09:00 – 09: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troduction to </a:t>
                      </a:r>
                      <a:r>
                        <a:rPr lang="en-GB" dirty="0" err="1"/>
                        <a:t>Hack@Speed</a:t>
                      </a:r>
                      <a:endParaRPr lang="en-GB" dirty="0"/>
                    </a:p>
                  </a:txBody>
                  <a:tcPr/>
                </a:tc>
                <a:tc>
                  <a:txBody>
                    <a:bodyPr/>
                    <a:lstStyle/>
                    <a:p>
                      <a:r>
                        <a:rPr lang="en-GB" dirty="0"/>
                        <a:t>Chris</a:t>
                      </a:r>
                    </a:p>
                  </a:txBody>
                  <a:tcPr/>
                </a:tc>
                <a:extLst>
                  <a:ext uri="{0D108BD9-81ED-4DB2-BD59-A6C34878D82A}">
                    <a16:rowId xmlns:a16="http://schemas.microsoft.com/office/drawing/2014/main" val="1252266229"/>
                  </a:ext>
                </a:extLst>
              </a:tr>
              <a:tr h="370840">
                <a:tc>
                  <a:txBody>
                    <a:bodyPr/>
                    <a:lstStyle/>
                    <a:p>
                      <a:r>
                        <a:rPr lang="en-GB" dirty="0"/>
                        <a:t>09:15 – 09:4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trike="noStrike" dirty="0"/>
                        <a:t>Power Platform Introduction</a:t>
                      </a:r>
                    </a:p>
                  </a:txBody>
                  <a:tcPr/>
                </a:tc>
                <a:tc>
                  <a:txBody>
                    <a:bodyPr/>
                    <a:lstStyle/>
                    <a:p>
                      <a:r>
                        <a:rPr lang="en-GB" dirty="0"/>
                        <a:t>Chris</a:t>
                      </a:r>
                    </a:p>
                  </a:txBody>
                  <a:tcPr/>
                </a:tc>
                <a:extLst>
                  <a:ext uri="{0D108BD9-81ED-4DB2-BD59-A6C34878D82A}">
                    <a16:rowId xmlns:a16="http://schemas.microsoft.com/office/drawing/2014/main" val="4186340680"/>
                  </a:ext>
                </a:extLst>
              </a:tr>
              <a:tr h="370840">
                <a:tc>
                  <a:txBody>
                    <a:bodyPr/>
                    <a:lstStyle/>
                    <a:p>
                      <a:r>
                        <a:rPr lang="en-GB" dirty="0"/>
                        <a:t>09:45 – 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trike="noStrike" dirty="0"/>
                        <a:t>Power Platform Demonstration</a:t>
                      </a:r>
                    </a:p>
                  </a:txBody>
                  <a:tcPr/>
                </a:tc>
                <a:tc>
                  <a:txBody>
                    <a:bodyPr/>
                    <a:lstStyle/>
                    <a:p>
                      <a:r>
                        <a:rPr lang="en-GB" dirty="0"/>
                        <a:t>Chris</a:t>
                      </a:r>
                    </a:p>
                  </a:txBody>
                  <a:tcPr/>
                </a:tc>
                <a:extLst>
                  <a:ext uri="{0D108BD9-81ED-4DB2-BD59-A6C34878D82A}">
                    <a16:rowId xmlns:a16="http://schemas.microsoft.com/office/drawing/2014/main" val="3005682549"/>
                  </a:ext>
                </a:extLst>
              </a:tr>
              <a:tr h="370840">
                <a:tc>
                  <a:txBody>
                    <a:bodyPr/>
                    <a:lstStyle/>
                    <a:p>
                      <a:r>
                        <a:rPr lang="en-GB" dirty="0"/>
                        <a:t>10:15 – 10: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reak</a:t>
                      </a:r>
                    </a:p>
                  </a:txBody>
                  <a:tcPr/>
                </a:tc>
                <a:tc>
                  <a:txBody>
                    <a:bodyPr/>
                    <a:lstStyle/>
                    <a:p>
                      <a:r>
                        <a:rPr lang="en-GB" dirty="0"/>
                        <a:t>Everyone</a:t>
                      </a:r>
                    </a:p>
                  </a:txBody>
                  <a:tcPr/>
                </a:tc>
                <a:extLst>
                  <a:ext uri="{0D108BD9-81ED-4DB2-BD59-A6C34878D82A}">
                    <a16:rowId xmlns:a16="http://schemas.microsoft.com/office/drawing/2014/main" val="2930929541"/>
                  </a:ext>
                </a:extLst>
              </a:tr>
              <a:tr h="370840">
                <a:tc>
                  <a:txBody>
                    <a:bodyPr/>
                    <a:lstStyle/>
                    <a:p>
                      <a:r>
                        <a:rPr lang="en-GB" dirty="0"/>
                        <a:t>10:30 – 11: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ules of Engagement &amp; “How to work”</a:t>
                      </a:r>
                    </a:p>
                  </a:txBody>
                  <a:tcPr/>
                </a:tc>
                <a:tc>
                  <a:txBody>
                    <a:bodyPr/>
                    <a:lstStyle/>
                    <a:p>
                      <a:r>
                        <a:rPr lang="en-GB" dirty="0"/>
                        <a:t>Everyone</a:t>
                      </a:r>
                    </a:p>
                  </a:txBody>
                  <a:tcPr/>
                </a:tc>
                <a:extLst>
                  <a:ext uri="{0D108BD9-81ED-4DB2-BD59-A6C34878D82A}">
                    <a16:rowId xmlns:a16="http://schemas.microsoft.com/office/drawing/2014/main" val="3122730069"/>
                  </a:ext>
                </a:extLst>
              </a:tr>
              <a:tr h="370840">
                <a:tc>
                  <a:txBody>
                    <a:bodyPr/>
                    <a:lstStyle/>
                    <a:p>
                      <a:r>
                        <a:rPr lang="en-GB" dirty="0"/>
                        <a:t>11:00 – 11: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Questions &amp; “Pre Hack Huddle”</a:t>
                      </a:r>
                    </a:p>
                  </a:txBody>
                  <a:tcPr/>
                </a:tc>
                <a:tc>
                  <a:txBody>
                    <a:bodyPr/>
                    <a:lstStyle/>
                    <a:p>
                      <a:r>
                        <a:rPr lang="en-GB" dirty="0"/>
                        <a:t>Chris</a:t>
                      </a:r>
                    </a:p>
                  </a:txBody>
                  <a:tcPr/>
                </a:tc>
                <a:extLst>
                  <a:ext uri="{0D108BD9-81ED-4DB2-BD59-A6C34878D82A}">
                    <a16:rowId xmlns:a16="http://schemas.microsoft.com/office/drawing/2014/main" val="368634983"/>
                  </a:ext>
                </a:extLst>
              </a:tr>
              <a:tr h="370840">
                <a:tc>
                  <a:txBody>
                    <a:bodyPr/>
                    <a:lstStyle/>
                    <a:p>
                      <a:r>
                        <a:rPr lang="en-GB" dirty="0"/>
                        <a:t>11:30 – 16:00</a:t>
                      </a:r>
                    </a:p>
                  </a:txBody>
                  <a:tcPr/>
                </a:tc>
                <a:tc>
                  <a:txBody>
                    <a:bodyPr/>
                    <a:lstStyle/>
                    <a:p>
                      <a:r>
                        <a:rPr lang="en-GB" dirty="0"/>
                        <a:t>Hackathon</a:t>
                      </a:r>
                    </a:p>
                  </a:txBody>
                  <a:tcPr/>
                </a:tc>
                <a:tc>
                  <a:txBody>
                    <a:bodyPr/>
                    <a:lstStyle/>
                    <a:p>
                      <a:r>
                        <a:rPr lang="en-GB" dirty="0"/>
                        <a:t>Everyone</a:t>
                      </a:r>
                    </a:p>
                  </a:txBody>
                  <a:tcPr/>
                </a:tc>
                <a:extLst>
                  <a:ext uri="{0D108BD9-81ED-4DB2-BD59-A6C34878D82A}">
                    <a16:rowId xmlns:a16="http://schemas.microsoft.com/office/drawing/2014/main" val="506968574"/>
                  </a:ext>
                </a:extLst>
              </a:tr>
              <a:tr h="370840">
                <a:tc>
                  <a:txBody>
                    <a:bodyPr/>
                    <a:lstStyle/>
                    <a:p>
                      <a:r>
                        <a:rPr lang="en-GB" dirty="0"/>
                        <a:t>12:30 – 13:00</a:t>
                      </a:r>
                    </a:p>
                  </a:txBody>
                  <a:tcPr/>
                </a:tc>
                <a:tc>
                  <a:txBody>
                    <a:bodyPr/>
                    <a:lstStyle/>
                    <a:p>
                      <a:r>
                        <a:rPr lang="en-GB" dirty="0"/>
                        <a:t>Lunch</a:t>
                      </a:r>
                    </a:p>
                  </a:txBody>
                  <a:tcPr/>
                </a:tc>
                <a:tc>
                  <a:txBody>
                    <a:bodyPr/>
                    <a:lstStyle/>
                    <a:p>
                      <a:r>
                        <a:rPr lang="en-GB" dirty="0"/>
                        <a:t>Everyone</a:t>
                      </a:r>
                    </a:p>
                  </a:txBody>
                  <a:tcPr/>
                </a:tc>
                <a:extLst>
                  <a:ext uri="{0D108BD9-81ED-4DB2-BD59-A6C34878D82A}">
                    <a16:rowId xmlns:a16="http://schemas.microsoft.com/office/drawing/2014/main" val="2199328892"/>
                  </a:ext>
                </a:extLst>
              </a:tr>
              <a:tr h="370840">
                <a:tc>
                  <a:txBody>
                    <a:bodyPr/>
                    <a:lstStyle/>
                    <a:p>
                      <a:r>
                        <a:rPr lang="en-GB" dirty="0"/>
                        <a:t>16:00 – 16:30</a:t>
                      </a:r>
                    </a:p>
                  </a:txBody>
                  <a:tcPr/>
                </a:tc>
                <a:tc>
                  <a:txBody>
                    <a:bodyPr/>
                    <a:lstStyle/>
                    <a:p>
                      <a:r>
                        <a:rPr lang="en-GB" dirty="0"/>
                        <a:t>Presentations</a:t>
                      </a:r>
                    </a:p>
                  </a:txBody>
                  <a:tcPr/>
                </a:tc>
                <a:tc>
                  <a:txBody>
                    <a:bodyPr/>
                    <a:lstStyle/>
                    <a:p>
                      <a:r>
                        <a:rPr lang="en-GB" dirty="0"/>
                        <a:t>Everyone</a:t>
                      </a:r>
                    </a:p>
                  </a:txBody>
                  <a:tcPr/>
                </a:tc>
                <a:extLst>
                  <a:ext uri="{0D108BD9-81ED-4DB2-BD59-A6C34878D82A}">
                    <a16:rowId xmlns:a16="http://schemas.microsoft.com/office/drawing/2014/main" val="2943510346"/>
                  </a:ext>
                </a:extLst>
              </a:tr>
              <a:tr h="370840">
                <a:tc>
                  <a:txBody>
                    <a:bodyPr/>
                    <a:lstStyle/>
                    <a:p>
                      <a:r>
                        <a:rPr lang="en-GB" dirty="0"/>
                        <a:t>16:30 – 17:00</a:t>
                      </a:r>
                    </a:p>
                  </a:txBody>
                  <a:tcPr/>
                </a:tc>
                <a:tc>
                  <a:txBody>
                    <a:bodyPr/>
                    <a:lstStyle/>
                    <a:p>
                      <a:r>
                        <a:rPr lang="en-GB" dirty="0"/>
                        <a:t>Discussion, Judging &amp; Wrap-up</a:t>
                      </a:r>
                    </a:p>
                  </a:txBody>
                  <a:tcPr/>
                </a:tc>
                <a:tc>
                  <a:txBody>
                    <a:bodyPr/>
                    <a:lstStyle/>
                    <a:p>
                      <a:r>
                        <a:rPr lang="en-GB" dirty="0"/>
                        <a:t>Everyone</a:t>
                      </a:r>
                    </a:p>
                  </a:txBody>
                  <a:tcPr/>
                </a:tc>
                <a:extLst>
                  <a:ext uri="{0D108BD9-81ED-4DB2-BD59-A6C34878D82A}">
                    <a16:rowId xmlns:a16="http://schemas.microsoft.com/office/drawing/2014/main" val="303375220"/>
                  </a:ext>
                </a:extLst>
              </a:tr>
            </a:tbl>
          </a:graphicData>
        </a:graphic>
      </p:graphicFrame>
    </p:spTree>
    <p:extLst>
      <p:ext uri="{BB962C8B-B14F-4D97-AF65-F5344CB8AC3E}">
        <p14:creationId xmlns:p14="http://schemas.microsoft.com/office/powerpoint/2010/main" val="23678046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2150745" y="1559335"/>
            <a:ext cx="8257781" cy="3034501"/>
            <a:chOff x="2010725" y="1327777"/>
            <a:chExt cx="8257781" cy="3034501"/>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Apps</a:t>
              </a:r>
            </a:p>
          </p:txBody>
        </p:sp>
      </p:grpSp>
      <p:grpSp>
        <p:nvGrpSpPr>
          <p:cNvPr id="13" name="Group 12">
            <a:extLst>
              <a:ext uri="{FF2B5EF4-FFF2-40B4-BE49-F238E27FC236}">
                <a16:creationId xmlns:a16="http://schemas.microsoft.com/office/drawing/2014/main" id="{E951BCC0-D03E-4AF4-8195-9CDE9DA13D94}"/>
              </a:ext>
            </a:extLst>
          </p:cNvPr>
          <p:cNvGrpSpPr/>
          <p:nvPr/>
        </p:nvGrpSpPr>
        <p:grpSpPr>
          <a:xfrm>
            <a:off x="2453628" y="2880734"/>
            <a:ext cx="3664963" cy="892298"/>
            <a:chOff x="2313608" y="2649176"/>
            <a:chExt cx="3664963" cy="892298"/>
          </a:xfrm>
        </p:grpSpPr>
        <p:sp>
          <p:nvSpPr>
            <p:cNvPr id="14" name="Rectangle: Rounded Corners 13">
              <a:extLst>
                <a:ext uri="{FF2B5EF4-FFF2-40B4-BE49-F238E27FC236}">
                  <a16:creationId xmlns:a16="http://schemas.microsoft.com/office/drawing/2014/main" id="{47AE2417-DEF1-4BCE-AE62-943B84ADFCD8}"/>
                </a:ext>
              </a:extLst>
            </p:cNvPr>
            <p:cNvSpPr/>
            <p:nvPr/>
          </p:nvSpPr>
          <p:spPr>
            <a:xfrm>
              <a:off x="2313608" y="2649176"/>
              <a:ext cx="3664963" cy="89229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F0371148-9229-4AE6-AC63-37D9FF54348C}"/>
                </a:ext>
              </a:extLst>
            </p:cNvPr>
            <p:cNvSpPr/>
            <p:nvPr/>
          </p:nvSpPr>
          <p:spPr>
            <a:xfrm>
              <a:off x="3220069" y="2814688"/>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id Office Complaint Management Model App</a:t>
              </a:r>
            </a:p>
          </p:txBody>
        </p:sp>
      </p:grpSp>
      <p:grpSp>
        <p:nvGrpSpPr>
          <p:cNvPr id="16" name="Group 15">
            <a:extLst>
              <a:ext uri="{FF2B5EF4-FFF2-40B4-BE49-F238E27FC236}">
                <a16:creationId xmlns:a16="http://schemas.microsoft.com/office/drawing/2014/main" id="{A5C9C92A-3F31-4EA4-98D0-B7E37B506CDB}"/>
              </a:ext>
            </a:extLst>
          </p:cNvPr>
          <p:cNvGrpSpPr/>
          <p:nvPr/>
        </p:nvGrpSpPr>
        <p:grpSpPr>
          <a:xfrm>
            <a:off x="2150747" y="4730912"/>
            <a:ext cx="8257781" cy="777461"/>
            <a:chOff x="412783" y="3721588"/>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412783" y="3721588"/>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1083297" y="3831667"/>
              <a:ext cx="2073029" cy="500253"/>
            </a:xfrm>
            <a:prstGeom prst="rect">
              <a:avLst/>
            </a:prstGeom>
          </p:spPr>
          <p:txBody>
            <a:bodyPr vert="horz" wrap="square" lIns="68580" tIns="34290" rIns="68580" bIns="34290" rtlCol="0" anchor="b" anchorCtr="0">
              <a:normAutofit fontScale="70000" lnSpcReduction="20000"/>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Common Data</a:t>
              </a:r>
              <a:b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Service for Apps </a:t>
              </a: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5340574"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6104884" y="388528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654524" y="3887303"/>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7D4BAD50-CC49-40F5-A044-CB1C74943CA4}"/>
                </a:ext>
              </a:extLst>
            </p:cNvPr>
            <p:cNvSpPr/>
            <p:nvPr/>
          </p:nvSpPr>
          <p:spPr>
            <a:xfrm>
              <a:off x="4576263"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3811952"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omplaint 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3047641" y="388528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omplaint Entity</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2150745" y="567206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Complaint Management Report</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02AC81B3-CA27-4E55-83BF-BB1BB35A7421}"/>
              </a:ext>
            </a:extLst>
          </p:cNvPr>
          <p:cNvGrpSpPr/>
          <p:nvPr/>
        </p:nvGrpSpPr>
        <p:grpSpPr>
          <a:xfrm>
            <a:off x="6421474" y="1866482"/>
            <a:ext cx="3664963" cy="1908479"/>
            <a:chOff x="6319865" y="1520192"/>
            <a:chExt cx="3664963" cy="1908479"/>
          </a:xfrm>
        </p:grpSpPr>
        <p:sp>
          <p:nvSpPr>
            <p:cNvPr id="35" name="Rectangle: Rounded Corners 8">
              <a:extLst>
                <a:ext uri="{FF2B5EF4-FFF2-40B4-BE49-F238E27FC236}">
                  <a16:creationId xmlns:a16="http://schemas.microsoft.com/office/drawing/2014/main" id="{F21AC980-A75F-4A14-B555-210200351C73}"/>
                </a:ext>
              </a:extLst>
            </p:cNvPr>
            <p:cNvSpPr/>
            <p:nvPr/>
          </p:nvSpPr>
          <p:spPr>
            <a:xfrm>
              <a:off x="6319865" y="1520192"/>
              <a:ext cx="3664963" cy="1908479"/>
            </a:xfrm>
            <a:prstGeom prst="roundRect">
              <a:avLst>
                <a:gd name="adj" fmla="val 8999"/>
              </a:avLst>
            </a:prstGeom>
            <a:blipFill>
              <a:blip r:embed="rId4"/>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18">
              <a:extLst>
                <a:ext uri="{FF2B5EF4-FFF2-40B4-BE49-F238E27FC236}">
                  <a16:creationId xmlns:a16="http://schemas.microsoft.com/office/drawing/2014/main" id="{54262644-6D3A-4138-807B-CAB21031EA27}"/>
                </a:ext>
              </a:extLst>
            </p:cNvPr>
            <p:cNvSpPr/>
            <p:nvPr/>
          </p:nvSpPr>
          <p:spPr>
            <a:xfrm>
              <a:off x="7276527" y="2153685"/>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obile C</a:t>
              </a:r>
              <a:r>
                <a:rPr kumimoji="0" lang="en-GB" sz="1050" b="1" i="0" u="none" strike="noStrike" kern="1200" cap="none" spc="0" normalizeH="0" baseline="0" noProof="0" dirty="0" err="1">
                  <a:ln>
                    <a:noFill/>
                  </a:ln>
                  <a:solidFill>
                    <a:prstClr val="white"/>
                  </a:solidFill>
                  <a:effectLst/>
                  <a:uLnTx/>
                  <a:uFillTx/>
                  <a:latin typeface="Calibri" panose="020F0502020204030204"/>
                  <a:ea typeface="+mn-ea"/>
                  <a:cs typeface="+mn-cs"/>
                </a:rPr>
                <a:t>omplaint</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 Management Canvas App</a:t>
              </a:r>
            </a:p>
          </p:txBody>
        </p:sp>
      </p:grpSp>
      <p:grpSp>
        <p:nvGrpSpPr>
          <p:cNvPr id="37" name="Group 36">
            <a:extLst>
              <a:ext uri="{FF2B5EF4-FFF2-40B4-BE49-F238E27FC236}">
                <a16:creationId xmlns:a16="http://schemas.microsoft.com/office/drawing/2014/main" id="{BC246A2C-442C-4EB2-A001-F0D2D37644DC}"/>
              </a:ext>
            </a:extLst>
          </p:cNvPr>
          <p:cNvGrpSpPr/>
          <p:nvPr/>
        </p:nvGrpSpPr>
        <p:grpSpPr>
          <a:xfrm>
            <a:off x="2471401" y="1886519"/>
            <a:ext cx="3645757" cy="892298"/>
            <a:chOff x="2331381" y="1654961"/>
            <a:chExt cx="3645757" cy="892298"/>
          </a:xfrm>
        </p:grpSpPr>
        <p:sp>
          <p:nvSpPr>
            <p:cNvPr id="38" name="Rectangle: Rounded Corners 8">
              <a:extLst>
                <a:ext uri="{FF2B5EF4-FFF2-40B4-BE49-F238E27FC236}">
                  <a16:creationId xmlns:a16="http://schemas.microsoft.com/office/drawing/2014/main" id="{3C17CC9B-8F1F-4A8D-A0B2-D2FAE80D6F4A}"/>
                </a:ext>
              </a:extLst>
            </p:cNvPr>
            <p:cNvSpPr/>
            <p:nvPr/>
          </p:nvSpPr>
          <p:spPr>
            <a:xfrm>
              <a:off x="2331381" y="1654961"/>
              <a:ext cx="3645757" cy="892298"/>
            </a:xfrm>
            <a:prstGeom prst="roundRect">
              <a:avLst>
                <a:gd name="adj" fmla="val 8999"/>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hevron 11">
              <a:extLst>
                <a:ext uri="{FF2B5EF4-FFF2-40B4-BE49-F238E27FC236}">
                  <a16:creationId xmlns:a16="http://schemas.microsoft.com/office/drawing/2014/main" id="{6FF9ECA7-CEA1-4703-8826-0EE8029033F0}"/>
                </a:ext>
              </a:extLst>
            </p:cNvPr>
            <p:cNvSpPr/>
            <p:nvPr/>
          </p:nvSpPr>
          <p:spPr>
            <a:xfrm>
              <a:off x="2488259" y="1725167"/>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Chevron 81">
              <a:extLst>
                <a:ext uri="{FF2B5EF4-FFF2-40B4-BE49-F238E27FC236}">
                  <a16:creationId xmlns:a16="http://schemas.microsoft.com/office/drawing/2014/main" id="{7EEDD7B5-5BB1-4D63-BB7C-21E9301B68C1}"/>
                </a:ext>
              </a:extLst>
            </p:cNvPr>
            <p:cNvSpPr/>
            <p:nvPr/>
          </p:nvSpPr>
          <p:spPr>
            <a:xfrm>
              <a:off x="3254406"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Chevron 82">
              <a:extLst>
                <a:ext uri="{FF2B5EF4-FFF2-40B4-BE49-F238E27FC236}">
                  <a16:creationId xmlns:a16="http://schemas.microsoft.com/office/drawing/2014/main" id="{B1E70A49-FD21-4FE9-8C7D-E39517A60E9C}"/>
                </a:ext>
              </a:extLst>
            </p:cNvPr>
            <p:cNvSpPr/>
            <p:nvPr/>
          </p:nvSpPr>
          <p:spPr>
            <a:xfrm>
              <a:off x="4020553" y="1717765"/>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Chevron 83">
              <a:extLst>
                <a:ext uri="{FF2B5EF4-FFF2-40B4-BE49-F238E27FC236}">
                  <a16:creationId xmlns:a16="http://schemas.microsoft.com/office/drawing/2014/main" id="{C0332614-E4F4-437A-816B-7CACFB2F8BC8}"/>
                </a:ext>
              </a:extLst>
            </p:cNvPr>
            <p:cNvSpPr/>
            <p:nvPr/>
          </p:nvSpPr>
          <p:spPr>
            <a:xfrm>
              <a:off x="4776868"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4" name="Group 43">
            <a:extLst>
              <a:ext uri="{FF2B5EF4-FFF2-40B4-BE49-F238E27FC236}">
                <a16:creationId xmlns:a16="http://schemas.microsoft.com/office/drawing/2014/main" id="{4479167D-626C-4993-A4D8-BB99ABE210B1}"/>
              </a:ext>
            </a:extLst>
          </p:cNvPr>
          <p:cNvGrpSpPr/>
          <p:nvPr/>
        </p:nvGrpSpPr>
        <p:grpSpPr>
          <a:xfrm>
            <a:off x="2142963" y="643258"/>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837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Forms Pro</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8" name="Rectangle: Rounded Corners 18">
            <a:extLst>
              <a:ext uri="{FF2B5EF4-FFF2-40B4-BE49-F238E27FC236}">
                <a16:creationId xmlns:a16="http://schemas.microsoft.com/office/drawing/2014/main" id="{93A844A9-9E7B-471E-9AFD-EB13CE3F3D66}"/>
              </a:ext>
            </a:extLst>
          </p:cNvPr>
          <p:cNvSpPr/>
          <p:nvPr/>
        </p:nvSpPr>
        <p:spPr>
          <a:xfrm>
            <a:off x="2628278" y="2073854"/>
            <a:ext cx="3376513" cy="576256"/>
          </a:xfrm>
          <a:prstGeom prst="roundRect">
            <a:avLst/>
          </a:prstGeom>
          <a:solidFill>
            <a:srgbClr val="006EFF"/>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Complaint Capture Process</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713550" y="4890023"/>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pic>
        <p:nvPicPr>
          <p:cNvPr id="1030" name="Picture 6" descr="Image result for dynamics 365 logo">
            <a:extLst>
              <a:ext uri="{FF2B5EF4-FFF2-40B4-BE49-F238E27FC236}">
                <a16:creationId xmlns:a16="http://schemas.microsoft.com/office/drawing/2014/main" id="{78DB165D-8C55-40E4-9E8D-32EB1FD1F8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95961" y="3843097"/>
            <a:ext cx="676020" cy="673343"/>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F9057803-FF18-4847-9D09-2E400869E531}"/>
              </a:ext>
            </a:extLst>
          </p:cNvPr>
          <p:cNvGrpSpPr/>
          <p:nvPr/>
        </p:nvGrpSpPr>
        <p:grpSpPr>
          <a:xfrm>
            <a:off x="1083241" y="635382"/>
            <a:ext cx="769012" cy="5814145"/>
            <a:chOff x="2010725" y="3584816"/>
            <a:chExt cx="8257781" cy="777461"/>
          </a:xfrm>
        </p:grpSpPr>
        <p:sp>
          <p:nvSpPr>
            <p:cNvPr id="53" name="Rectangle: Rounded Corners 1">
              <a:extLst>
                <a:ext uri="{FF2B5EF4-FFF2-40B4-BE49-F238E27FC236}">
                  <a16:creationId xmlns:a16="http://schemas.microsoft.com/office/drawing/2014/main" id="{835E7110-8BB4-4DC3-B034-601595583CD3}"/>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3DBDC655-F148-464D-9D1C-979E2B217806}"/>
                </a:ext>
              </a:extLst>
            </p:cNvPr>
            <p:cNvSpPr txBox="1"/>
            <p:nvPr/>
          </p:nvSpPr>
          <p:spPr>
            <a:xfrm>
              <a:off x="2112578" y="3705879"/>
              <a:ext cx="8038513" cy="500253"/>
            </a:xfrm>
            <a:prstGeom prst="rect">
              <a:avLst/>
            </a:prstGeom>
          </p:spPr>
          <p:txBody>
            <a:bodyPr vert="vert270"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Power Automate</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52" name="Picture 2" descr="Image result for Microsoft Flow logo">
            <a:extLst>
              <a:ext uri="{FF2B5EF4-FFF2-40B4-BE49-F238E27FC236}">
                <a16:creationId xmlns:a16="http://schemas.microsoft.com/office/drawing/2014/main" id="{86CD8094-E2FA-4681-BBB2-C3013C20372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49213" y="696638"/>
            <a:ext cx="635617" cy="63561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microsoft forms pro logo">
            <a:extLst>
              <a:ext uri="{FF2B5EF4-FFF2-40B4-BE49-F238E27FC236}">
                <a16:creationId xmlns:a16="http://schemas.microsoft.com/office/drawing/2014/main" id="{EBE4DAF9-B2FC-4C05-AA68-76D96B9FC7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4021" y="600555"/>
            <a:ext cx="857396" cy="85739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32A5B07-F5AC-4633-AB58-35BFD1114999}"/>
              </a:ext>
            </a:extLst>
          </p:cNvPr>
          <p:cNvGrpSpPr/>
          <p:nvPr/>
        </p:nvGrpSpPr>
        <p:grpSpPr>
          <a:xfrm>
            <a:off x="10664970" y="643258"/>
            <a:ext cx="769012" cy="5814145"/>
            <a:chOff x="2010725" y="3584816"/>
            <a:chExt cx="8257781" cy="777461"/>
          </a:xfrm>
        </p:grpSpPr>
        <p:sp>
          <p:nvSpPr>
            <p:cNvPr id="56" name="Rectangle: Rounded Corners 1">
              <a:extLst>
                <a:ext uri="{FF2B5EF4-FFF2-40B4-BE49-F238E27FC236}">
                  <a16:creationId xmlns:a16="http://schemas.microsoft.com/office/drawing/2014/main" id="{49DA19AA-AB24-4623-BB6F-65FD48E759BF}"/>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C00000"/>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3FF1A2B5-8285-4AF0-98A4-CC6D313315D5}"/>
                </a:ext>
              </a:extLst>
            </p:cNvPr>
            <p:cNvSpPr txBox="1"/>
            <p:nvPr/>
          </p:nvSpPr>
          <p:spPr>
            <a:xfrm>
              <a:off x="2112578" y="3705879"/>
              <a:ext cx="8038513" cy="500253"/>
            </a:xfrm>
            <a:prstGeom prst="rect">
              <a:avLst/>
            </a:prstGeom>
          </p:spPr>
          <p:txBody>
            <a:bodyPr vert="vert270" wrap="square" lIns="68580" tIns="34290" rIns="68580" bIns="34290" rtlCol="0" anchor="ctr"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I Builder</a:t>
              </a:r>
            </a:p>
          </p:txBody>
        </p:sp>
      </p:grpSp>
      <p:grpSp>
        <p:nvGrpSpPr>
          <p:cNvPr id="4" name="Group 3">
            <a:extLst>
              <a:ext uri="{FF2B5EF4-FFF2-40B4-BE49-F238E27FC236}">
                <a16:creationId xmlns:a16="http://schemas.microsoft.com/office/drawing/2014/main" id="{2BA3BFD8-41C9-4718-B1E7-AA287FECE86E}"/>
              </a:ext>
            </a:extLst>
          </p:cNvPr>
          <p:cNvGrpSpPr/>
          <p:nvPr/>
        </p:nvGrpSpPr>
        <p:grpSpPr>
          <a:xfrm>
            <a:off x="10752245" y="818937"/>
            <a:ext cx="581084" cy="553997"/>
            <a:chOff x="5240279" y="3953634"/>
            <a:chExt cx="1033226" cy="1082357"/>
          </a:xfrm>
        </p:grpSpPr>
        <p:sp>
          <p:nvSpPr>
            <p:cNvPr id="59" name="Oval 58">
              <a:extLst>
                <a:ext uri="{FF2B5EF4-FFF2-40B4-BE49-F238E27FC236}">
                  <a16:creationId xmlns:a16="http://schemas.microsoft.com/office/drawing/2014/main" id="{3DBC6157-5359-4A52-8E7B-978A6D2A1DCA}"/>
                </a:ext>
              </a:extLst>
            </p:cNvPr>
            <p:cNvSpPr/>
            <p:nvPr/>
          </p:nvSpPr>
          <p:spPr bwMode="auto">
            <a:xfrm>
              <a:off x="5622937" y="4179433"/>
              <a:ext cx="554086" cy="554086"/>
            </a:xfrm>
            <a:prstGeom prst="ellipse">
              <a:avLst/>
            </a:prstGeom>
            <a:solidFill>
              <a:sysClr val="window" lastClr="FFFFFF">
                <a:lumMod val="75000"/>
                <a:lumOff val="25000"/>
              </a:sysClr>
            </a:solidFill>
            <a:ln w="22225"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 name="Oval 59">
              <a:extLst>
                <a:ext uri="{FF2B5EF4-FFF2-40B4-BE49-F238E27FC236}">
                  <a16:creationId xmlns:a16="http://schemas.microsoft.com/office/drawing/2014/main" id="{963CEA8F-FE17-40B7-915F-BBC892EA8986}"/>
                </a:ext>
              </a:extLst>
            </p:cNvPr>
            <p:cNvSpPr/>
            <p:nvPr/>
          </p:nvSpPr>
          <p:spPr bwMode="auto">
            <a:xfrm>
              <a:off x="5240279" y="4291505"/>
              <a:ext cx="329941" cy="329941"/>
            </a:xfrm>
            <a:prstGeom prst="ellipse">
              <a:avLst/>
            </a:prstGeom>
            <a:solidFill>
              <a:sysClr val="window" lastClr="FFFFFF">
                <a:lumMod val="75000"/>
                <a:lumOff val="25000"/>
              </a:sysClr>
            </a:solidFill>
            <a:ln w="22225"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 name="Oval 60">
              <a:extLst>
                <a:ext uri="{FF2B5EF4-FFF2-40B4-BE49-F238E27FC236}">
                  <a16:creationId xmlns:a16="http://schemas.microsoft.com/office/drawing/2014/main" id="{0A4FD373-A576-4F1F-991D-6FCA9EC47DCF}"/>
                </a:ext>
              </a:extLst>
            </p:cNvPr>
            <p:cNvSpPr/>
            <p:nvPr/>
          </p:nvSpPr>
          <p:spPr bwMode="auto">
            <a:xfrm>
              <a:off x="5943564" y="3953634"/>
              <a:ext cx="329941" cy="329941"/>
            </a:xfrm>
            <a:prstGeom prst="ellipse">
              <a:avLst/>
            </a:prstGeom>
            <a:solidFill>
              <a:sysClr val="window" lastClr="FFFFFF">
                <a:lumMod val="75000"/>
                <a:lumOff val="25000"/>
              </a:sysClr>
            </a:solidFill>
            <a:ln w="22225"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2" name="Oval 61">
              <a:extLst>
                <a:ext uri="{FF2B5EF4-FFF2-40B4-BE49-F238E27FC236}">
                  <a16:creationId xmlns:a16="http://schemas.microsoft.com/office/drawing/2014/main" id="{B630D505-2D35-4C1B-BFBD-35648E6A77CA}"/>
                </a:ext>
              </a:extLst>
            </p:cNvPr>
            <p:cNvSpPr/>
            <p:nvPr/>
          </p:nvSpPr>
          <p:spPr bwMode="auto">
            <a:xfrm>
              <a:off x="5801201" y="4575454"/>
              <a:ext cx="460537" cy="460537"/>
            </a:xfrm>
            <a:prstGeom prst="ellipse">
              <a:avLst/>
            </a:prstGeom>
            <a:solidFill>
              <a:sysClr val="window" lastClr="FFFFFF">
                <a:lumMod val="75000"/>
                <a:lumOff val="25000"/>
              </a:sysClr>
            </a:solidFill>
            <a:ln w="22225" cap="flat" cmpd="sng" algn="ctr">
              <a:solidFill>
                <a:srgbClr val="C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374643607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0713191-9285-4378-8F7E-34155B97B364}"/>
              </a:ext>
            </a:extLst>
          </p:cNvPr>
          <p:cNvSpPr txBox="1"/>
          <p:nvPr/>
        </p:nvSpPr>
        <p:spPr>
          <a:xfrm>
            <a:off x="505591" y="86817"/>
            <a:ext cx="11180818" cy="2200602"/>
          </a:xfrm>
          <a:prstGeom prst="rect">
            <a:avLst/>
          </a:prstGeom>
          <a:noFill/>
        </p:spPr>
        <p:txBody>
          <a:bodyPr wrap="none" lIns="182880" tIns="146304" rIns="182880" bIns="146304" rtlCol="0">
            <a:spAutoFit/>
          </a:bodyPr>
          <a:lstStyle/>
          <a:p>
            <a:pPr>
              <a:lnSpc>
                <a:spcPct val="90000"/>
              </a:lnSpc>
              <a:spcAft>
                <a:spcPts val="600"/>
              </a:spcAft>
            </a:pPr>
            <a:r>
              <a:rPr lang="en-GB" sz="6600" dirty="0">
                <a:gradFill>
                  <a:gsLst>
                    <a:gs pos="2917">
                      <a:schemeClr val="tx1"/>
                    </a:gs>
                    <a:gs pos="30000">
                      <a:schemeClr val="tx1"/>
                    </a:gs>
                  </a:gsLst>
                  <a:lin ang="5400000" scaled="0"/>
                </a:gradFill>
              </a:rPr>
              <a:t>Breathe Life into Your Data… </a:t>
            </a:r>
          </a:p>
          <a:p>
            <a:pPr>
              <a:lnSpc>
                <a:spcPct val="90000"/>
              </a:lnSpc>
              <a:spcAft>
                <a:spcPts val="600"/>
              </a:spcAft>
            </a:pPr>
            <a:r>
              <a:rPr lang="en-GB" sz="6600" dirty="0">
                <a:gradFill>
                  <a:gsLst>
                    <a:gs pos="2917">
                      <a:schemeClr val="tx1"/>
                    </a:gs>
                    <a:gs pos="30000">
                      <a:schemeClr val="tx1"/>
                    </a:gs>
                  </a:gsLst>
                  <a:lin ang="5400000" scaled="0"/>
                </a:gradFill>
              </a:rPr>
              <a:t>Let it LIVE!</a:t>
            </a:r>
          </a:p>
        </p:txBody>
      </p:sp>
      <p:pic>
        <p:nvPicPr>
          <p:cNvPr id="9218" name="Picture 2" descr="Do fantastic power bi dashboards,reports,power pivot,power view ...">
            <a:extLst>
              <a:ext uri="{FF2B5EF4-FFF2-40B4-BE49-F238E27FC236}">
                <a16:creationId xmlns:a16="http://schemas.microsoft.com/office/drawing/2014/main" id="{92044469-9F02-417C-9CA5-EB62087AC5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123440"/>
            <a:ext cx="3667512" cy="1879600"/>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Microsoft Power BI Advantages and Disadvantages">
            <a:extLst>
              <a:ext uri="{FF2B5EF4-FFF2-40B4-BE49-F238E27FC236}">
                <a16:creationId xmlns:a16="http://schemas.microsoft.com/office/drawing/2014/main" id="{075878E0-9C86-4CBC-B02D-1EEF4CED38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85200" y="4589660"/>
            <a:ext cx="3606800" cy="2268339"/>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Microsoft Power Apps and Microsoft Power Automate">
            <a:extLst>
              <a:ext uri="{FF2B5EF4-FFF2-40B4-BE49-F238E27FC236}">
                <a16:creationId xmlns:a16="http://schemas.microsoft.com/office/drawing/2014/main" id="{37C75764-F78F-4E10-B7CC-09C7846B01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519" y="3028418"/>
            <a:ext cx="3629869" cy="2268340"/>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Power BI Visualization Samples | PowerDAX">
            <a:extLst>
              <a:ext uri="{FF2B5EF4-FFF2-40B4-BE49-F238E27FC236}">
                <a16:creationId xmlns:a16="http://schemas.microsoft.com/office/drawing/2014/main" id="{19D830BE-4BEC-4752-BA53-61D0835B15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42640" y="3992880"/>
            <a:ext cx="2753360" cy="1591786"/>
          </a:xfrm>
          <a:prstGeom prst="rect">
            <a:avLst/>
          </a:prstGeom>
          <a:noFill/>
          <a:extLst>
            <a:ext uri="{909E8E84-426E-40DD-AFC4-6F175D3DCCD1}">
              <a14:hiddenFill xmlns:a14="http://schemas.microsoft.com/office/drawing/2010/main">
                <a:solidFill>
                  <a:srgbClr val="FFFFFF"/>
                </a:solidFill>
              </a14:hiddenFill>
            </a:ext>
          </a:extLst>
        </p:spPr>
      </p:pic>
      <p:pic>
        <p:nvPicPr>
          <p:cNvPr id="14338" name="Picture 2" descr="Microsoft brings Mixed Reality toys and other improvements to ...">
            <a:extLst>
              <a:ext uri="{FF2B5EF4-FFF2-40B4-BE49-F238E27FC236}">
                <a16:creationId xmlns:a16="http://schemas.microsoft.com/office/drawing/2014/main" id="{06B01425-68DB-4B45-9661-F93F9721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88000" y="4840159"/>
            <a:ext cx="3104890" cy="2068633"/>
          </a:xfrm>
          <a:prstGeom prst="rect">
            <a:avLst/>
          </a:prstGeom>
          <a:noFill/>
          <a:extLst>
            <a:ext uri="{909E8E84-426E-40DD-AFC4-6F175D3DCCD1}">
              <a14:hiddenFill xmlns:a14="http://schemas.microsoft.com/office/drawing/2010/main">
                <a:solidFill>
                  <a:srgbClr val="FFFFFF"/>
                </a:solidFill>
              </a14:hiddenFill>
            </a:ext>
          </a:extLst>
        </p:spPr>
      </p:pic>
      <p:pic>
        <p:nvPicPr>
          <p:cNvPr id="15362" name="Picture 2" descr="Democratizing Portal Development, Microsoft Announces Power Apps ...">
            <a:extLst>
              <a:ext uri="{FF2B5EF4-FFF2-40B4-BE49-F238E27FC236}">
                <a16:creationId xmlns:a16="http://schemas.microsoft.com/office/drawing/2014/main" id="{27880F6C-2B61-490A-BDEE-ADB04D115F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61258" y="2087601"/>
            <a:ext cx="2736909" cy="2533958"/>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Power BI Rugby: Rugby Championship Power BI Themes">
            <a:extLst>
              <a:ext uri="{FF2B5EF4-FFF2-40B4-BE49-F238E27FC236}">
                <a16:creationId xmlns:a16="http://schemas.microsoft.com/office/drawing/2014/main" id="{74A7525F-28A0-438F-A491-AB0D05938BB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76550" y="2571899"/>
            <a:ext cx="4079875" cy="2349346"/>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descr="Chris Huntingford - PERSONAL PROFILE 🇿🇦 🇬🇧 on Twitter: &quot;LOOK ...">
            <a:extLst>
              <a:ext uri="{FF2B5EF4-FFF2-40B4-BE49-F238E27FC236}">
                <a16:creationId xmlns:a16="http://schemas.microsoft.com/office/drawing/2014/main" id="{39439423-358F-49A0-9569-4919DD369C3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58077" y="2005333"/>
            <a:ext cx="3970986" cy="1879600"/>
          </a:xfrm>
          <a:prstGeom prst="rect">
            <a:avLst/>
          </a:prstGeom>
          <a:noFill/>
          <a:extLst>
            <a:ext uri="{909E8E84-426E-40DD-AFC4-6F175D3DCCD1}">
              <a14:hiddenFill xmlns:a14="http://schemas.microsoft.com/office/drawing/2010/main">
                <a:solidFill>
                  <a:srgbClr val="FFFFFF"/>
                </a:solidFill>
              </a14:hiddenFill>
            </a:ext>
          </a:extLst>
        </p:spPr>
      </p:pic>
      <p:pic>
        <p:nvPicPr>
          <p:cNvPr id="17410" name="Picture 2" descr="Microsoft Power Automate | Microsoft Power Platform">
            <a:extLst>
              <a:ext uri="{FF2B5EF4-FFF2-40B4-BE49-F238E27FC236}">
                <a16:creationId xmlns:a16="http://schemas.microsoft.com/office/drawing/2014/main" id="{ED0DB172-A1B5-426E-83C3-A47372ABAB5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29063" y="1226318"/>
            <a:ext cx="2971448" cy="1671439"/>
          </a:xfrm>
          <a:prstGeom prst="rect">
            <a:avLst/>
          </a:prstGeom>
          <a:noFill/>
          <a:extLst>
            <a:ext uri="{909E8E84-426E-40DD-AFC4-6F175D3DCCD1}">
              <a14:hiddenFill xmlns:a14="http://schemas.microsoft.com/office/drawing/2010/main">
                <a:solidFill>
                  <a:srgbClr val="FFFFFF"/>
                </a:solidFill>
              </a14:hiddenFill>
            </a:ext>
          </a:extLst>
        </p:spPr>
      </p:pic>
      <p:pic>
        <p:nvPicPr>
          <p:cNvPr id="18434" name="Picture 2" descr="Process Automation with Power Automate | Microsoft Power Apps">
            <a:extLst>
              <a:ext uri="{FF2B5EF4-FFF2-40B4-BE49-F238E27FC236}">
                <a16:creationId xmlns:a16="http://schemas.microsoft.com/office/drawing/2014/main" id="{A180ACAC-C8FA-4189-9AF6-F106A840DA8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94660" y="5371226"/>
            <a:ext cx="2670665" cy="1591787"/>
          </a:xfrm>
          <a:prstGeom prst="rect">
            <a:avLst/>
          </a:prstGeom>
          <a:noFill/>
          <a:extLst>
            <a:ext uri="{909E8E84-426E-40DD-AFC4-6F175D3DCCD1}">
              <a14:hiddenFill xmlns:a14="http://schemas.microsoft.com/office/drawing/2010/main">
                <a:solidFill>
                  <a:srgbClr val="FFFFFF"/>
                </a:solidFill>
              </a14:hiddenFill>
            </a:ext>
          </a:extLst>
        </p:spPr>
      </p:pic>
      <p:pic>
        <p:nvPicPr>
          <p:cNvPr id="19458" name="Picture 2" descr="Build business process flow stages with custom controls - Power ...">
            <a:extLst>
              <a:ext uri="{FF2B5EF4-FFF2-40B4-BE49-F238E27FC236}">
                <a16:creationId xmlns:a16="http://schemas.microsoft.com/office/drawing/2014/main" id="{52DCFC4E-1E34-467D-9F20-0B043ECBCDE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358" y="4788797"/>
            <a:ext cx="3069018" cy="2030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17594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410"/>
                                        </p:tgtEl>
                                        <p:attrNameLst>
                                          <p:attrName>style.visibility</p:attrName>
                                        </p:attrNameLst>
                                      </p:cBhvr>
                                      <p:to>
                                        <p:strVal val="visible"/>
                                      </p:to>
                                    </p:set>
                                    <p:animEffect transition="in" filter="fade">
                                      <p:cBhvr>
                                        <p:cTn id="7" dur="500"/>
                                        <p:tgtEl>
                                          <p:spTgt spid="174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362"/>
                                        </p:tgtEl>
                                        <p:attrNameLst>
                                          <p:attrName>style.visibility</p:attrName>
                                        </p:attrNameLst>
                                      </p:cBhvr>
                                      <p:to>
                                        <p:strVal val="visible"/>
                                      </p:to>
                                    </p:set>
                                    <p:animEffect transition="in" filter="fade">
                                      <p:cBhvr>
                                        <p:cTn id="11" dur="500"/>
                                        <p:tgtEl>
                                          <p:spTgt spid="153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90"/>
                                        </p:tgtEl>
                                        <p:attrNameLst>
                                          <p:attrName>style.visibility</p:attrName>
                                        </p:attrNameLst>
                                      </p:cBhvr>
                                      <p:to>
                                        <p:strVal val="visible"/>
                                      </p:to>
                                    </p:set>
                                    <p:animEffect transition="in" filter="fade">
                                      <p:cBhvr>
                                        <p:cTn id="15" dur="500"/>
                                        <p:tgtEl>
                                          <p:spTgt spid="1229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6386"/>
                                        </p:tgtEl>
                                        <p:attrNameLst>
                                          <p:attrName>style.visibility</p:attrName>
                                        </p:attrNameLst>
                                      </p:cBhvr>
                                      <p:to>
                                        <p:strVal val="visible"/>
                                      </p:to>
                                    </p:set>
                                    <p:animEffect transition="in" filter="fade">
                                      <p:cBhvr>
                                        <p:cTn id="19" dur="500"/>
                                        <p:tgtEl>
                                          <p:spTgt spid="1638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9218"/>
                                        </p:tgtEl>
                                        <p:attrNameLst>
                                          <p:attrName>style.visibility</p:attrName>
                                        </p:attrNameLst>
                                      </p:cBhvr>
                                      <p:to>
                                        <p:strVal val="visible"/>
                                      </p:to>
                                    </p:set>
                                    <p:animEffect transition="in" filter="fade">
                                      <p:cBhvr>
                                        <p:cTn id="23" dur="500"/>
                                        <p:tgtEl>
                                          <p:spTgt spid="921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3314"/>
                                        </p:tgtEl>
                                        <p:attrNameLst>
                                          <p:attrName>style.visibility</p:attrName>
                                        </p:attrNameLst>
                                      </p:cBhvr>
                                      <p:to>
                                        <p:strVal val="visible"/>
                                      </p:to>
                                    </p:set>
                                    <p:animEffect transition="in" filter="fade">
                                      <p:cBhvr>
                                        <p:cTn id="27" dur="500"/>
                                        <p:tgtEl>
                                          <p:spTgt spid="13314"/>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1266"/>
                                        </p:tgtEl>
                                        <p:attrNameLst>
                                          <p:attrName>style.visibility</p:attrName>
                                        </p:attrNameLst>
                                      </p:cBhvr>
                                      <p:to>
                                        <p:strVal val="visible"/>
                                      </p:to>
                                    </p:set>
                                    <p:animEffect transition="in" filter="fade">
                                      <p:cBhvr>
                                        <p:cTn id="31" dur="500"/>
                                        <p:tgtEl>
                                          <p:spTgt spid="1126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9458"/>
                                        </p:tgtEl>
                                        <p:attrNameLst>
                                          <p:attrName>style.visibility</p:attrName>
                                        </p:attrNameLst>
                                      </p:cBhvr>
                                      <p:to>
                                        <p:strVal val="visible"/>
                                      </p:to>
                                    </p:set>
                                    <p:animEffect transition="in" filter="fade">
                                      <p:cBhvr>
                                        <p:cTn id="35" dur="500"/>
                                        <p:tgtEl>
                                          <p:spTgt spid="1945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8434"/>
                                        </p:tgtEl>
                                        <p:attrNameLst>
                                          <p:attrName>style.visibility</p:attrName>
                                        </p:attrNameLst>
                                      </p:cBhvr>
                                      <p:to>
                                        <p:strVal val="visible"/>
                                      </p:to>
                                    </p:set>
                                    <p:animEffect transition="in" filter="fade">
                                      <p:cBhvr>
                                        <p:cTn id="39" dur="500"/>
                                        <p:tgtEl>
                                          <p:spTgt spid="18434"/>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4338"/>
                                        </p:tgtEl>
                                        <p:attrNameLst>
                                          <p:attrName>style.visibility</p:attrName>
                                        </p:attrNameLst>
                                      </p:cBhvr>
                                      <p:to>
                                        <p:strVal val="visible"/>
                                      </p:to>
                                    </p:set>
                                    <p:animEffect transition="in" filter="fade">
                                      <p:cBhvr>
                                        <p:cTn id="43" dur="500"/>
                                        <p:tgtEl>
                                          <p:spTgt spid="14338"/>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0242"/>
                                        </p:tgtEl>
                                        <p:attrNameLst>
                                          <p:attrName>style.visibility</p:attrName>
                                        </p:attrNameLst>
                                      </p:cBhvr>
                                      <p:to>
                                        <p:strVal val="visible"/>
                                      </p:to>
                                    </p:set>
                                    <p:animEffect transition="in" filter="fade">
                                      <p:cBhvr>
                                        <p:cTn id="47" dur="500"/>
                                        <p:tgtEl>
                                          <p:spTgt spid="10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20111"/>
            <a:ext cx="12192000" cy="8112547"/>
          </a:xfrm>
          <a:prstGeom prst="rect">
            <a:avLst/>
          </a:prstGeom>
        </p:spPr>
      </p:pic>
      <p:sp>
        <p:nvSpPr>
          <p:cNvPr id="3" name="TextBox 2"/>
          <p:cNvSpPr txBox="1"/>
          <p:nvPr/>
        </p:nvSpPr>
        <p:spPr>
          <a:xfrm>
            <a:off x="4662030" y="976018"/>
            <a:ext cx="752161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Demos like this are always a risk….</a:t>
            </a:r>
          </a:p>
        </p:txBody>
      </p:sp>
      <p:sp>
        <p:nvSpPr>
          <p:cNvPr id="5" name="TextBox 4"/>
          <p:cNvSpPr txBox="1"/>
          <p:nvPr/>
        </p:nvSpPr>
        <p:spPr>
          <a:xfrm>
            <a:off x="4662030" y="2000776"/>
            <a:ext cx="628890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But playing it safe is no fun….</a:t>
            </a:r>
          </a:p>
        </p:txBody>
      </p:sp>
      <p:sp>
        <p:nvSpPr>
          <p:cNvPr id="6" name="TextBox 5"/>
          <p:cNvSpPr txBox="1"/>
          <p:nvPr/>
        </p:nvSpPr>
        <p:spPr>
          <a:xfrm>
            <a:off x="4662030" y="3020663"/>
            <a:ext cx="4589718"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So lets do this thing!!</a:t>
            </a:r>
          </a:p>
        </p:txBody>
      </p:sp>
    </p:spTree>
    <p:custDataLst>
      <p:tags r:id="rId1"/>
    </p:custDataLst>
    <p:extLst>
      <p:ext uri="{BB962C8B-B14F-4D97-AF65-F5344CB8AC3E}">
        <p14:creationId xmlns:p14="http://schemas.microsoft.com/office/powerpoint/2010/main" val="2197475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584200" y="3247878"/>
            <a:ext cx="5090459" cy="1252404"/>
          </a:xfrm>
          <a:solidFill>
            <a:schemeClr val="bg2">
              <a:lumMod val="10000"/>
              <a:alpha val="75000"/>
            </a:schemeClr>
          </a:solidFill>
        </p:spPr>
        <p:txBody>
          <a:bodyPr anchor="ctr"/>
          <a:lstStyle/>
          <a:p>
            <a:r>
              <a:rPr lang="en-GB" dirty="0">
                <a:solidFill>
                  <a:schemeClr val="bg1"/>
                </a:solidFill>
              </a:rPr>
              <a:t>Rules of Engagement</a:t>
            </a:r>
          </a:p>
        </p:txBody>
      </p:sp>
    </p:spTree>
    <p:extLst>
      <p:ext uri="{BB962C8B-B14F-4D97-AF65-F5344CB8AC3E}">
        <p14:creationId xmlns:p14="http://schemas.microsoft.com/office/powerpoint/2010/main" val="53307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E14AB-40B0-4AFA-BB37-4321D6521BC4}"/>
              </a:ext>
            </a:extLst>
          </p:cNvPr>
          <p:cNvSpPr>
            <a:spLocks noGrp="1"/>
          </p:cNvSpPr>
          <p:nvPr>
            <p:ph type="title"/>
          </p:nvPr>
        </p:nvSpPr>
        <p:spPr/>
        <p:txBody>
          <a:bodyPr/>
          <a:lstStyle/>
          <a:p>
            <a:r>
              <a:rPr lang="en-GB" dirty="0"/>
              <a:t>Hack Options</a:t>
            </a:r>
          </a:p>
        </p:txBody>
      </p:sp>
      <p:sp>
        <p:nvSpPr>
          <p:cNvPr id="5" name="Rectangle 4">
            <a:extLst>
              <a:ext uri="{FF2B5EF4-FFF2-40B4-BE49-F238E27FC236}">
                <a16:creationId xmlns:a16="http://schemas.microsoft.com/office/drawing/2014/main" id="{5B320678-E161-4221-B5BB-74EB1AE23D4D}"/>
              </a:ext>
            </a:extLst>
          </p:cNvPr>
          <p:cNvSpPr/>
          <p:nvPr/>
        </p:nvSpPr>
        <p:spPr bwMode="auto">
          <a:xfrm>
            <a:off x="904973" y="1366887"/>
            <a:ext cx="4760536" cy="2535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C1748447-4804-4C22-B0DB-CE9C2A977B35}"/>
              </a:ext>
            </a:extLst>
          </p:cNvPr>
          <p:cNvSpPr/>
          <p:nvPr/>
        </p:nvSpPr>
        <p:spPr bwMode="auto">
          <a:xfrm>
            <a:off x="6600334" y="1366887"/>
            <a:ext cx="4760536" cy="2535810"/>
          </a:xfrm>
          <a:prstGeom prst="rect">
            <a:avLst/>
          </a:prstGeom>
          <a:solidFill>
            <a:srgbClr val="E2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highlight>
                <a:srgbClr val="FF0000"/>
              </a:highlight>
              <a:ea typeface="Segoe UI" pitchFamily="34" charset="0"/>
              <a:cs typeface="Segoe UI" pitchFamily="34" charset="0"/>
            </a:endParaRPr>
          </a:p>
        </p:txBody>
      </p:sp>
      <p:sp>
        <p:nvSpPr>
          <p:cNvPr id="9" name="TextBox 8">
            <a:extLst>
              <a:ext uri="{FF2B5EF4-FFF2-40B4-BE49-F238E27FC236}">
                <a16:creationId xmlns:a16="http://schemas.microsoft.com/office/drawing/2014/main" id="{5CCDF9EB-5E03-494E-970C-35FE6BDBD2FE}"/>
              </a:ext>
            </a:extLst>
          </p:cNvPr>
          <p:cNvSpPr txBox="1"/>
          <p:nvPr/>
        </p:nvSpPr>
        <p:spPr>
          <a:xfrm>
            <a:off x="9331300" y="2910759"/>
            <a:ext cx="2029570" cy="430887"/>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BYOD</a:t>
            </a:r>
          </a:p>
        </p:txBody>
      </p:sp>
      <p:sp>
        <p:nvSpPr>
          <p:cNvPr id="11" name="TextBox 10">
            <a:extLst>
              <a:ext uri="{FF2B5EF4-FFF2-40B4-BE49-F238E27FC236}">
                <a16:creationId xmlns:a16="http://schemas.microsoft.com/office/drawing/2014/main" id="{E86CCDE5-1625-4F09-AA5C-EAB70C680134}"/>
              </a:ext>
            </a:extLst>
          </p:cNvPr>
          <p:cNvSpPr txBox="1"/>
          <p:nvPr/>
        </p:nvSpPr>
        <p:spPr>
          <a:xfrm>
            <a:off x="3320723" y="2479871"/>
            <a:ext cx="2275483" cy="1292662"/>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Use The Hack Packs</a:t>
            </a:r>
          </a:p>
        </p:txBody>
      </p:sp>
      <p:pic>
        <p:nvPicPr>
          <p:cNvPr id="17" name="Picture 16" descr="A picture containing graphics, drawing&#10;&#10;Description automatically generated">
            <a:extLst>
              <a:ext uri="{FF2B5EF4-FFF2-40B4-BE49-F238E27FC236}">
                <a16:creationId xmlns:a16="http://schemas.microsoft.com/office/drawing/2014/main" id="{962D60EB-14A4-4A47-9C08-B95F28967D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8833" y="1558498"/>
            <a:ext cx="2152588" cy="2152588"/>
          </a:xfrm>
          <a:prstGeom prst="rect">
            <a:avLst/>
          </a:prstGeom>
        </p:spPr>
      </p:pic>
      <p:pic>
        <p:nvPicPr>
          <p:cNvPr id="19" name="Picture 18" descr="A close up of a sign&#10;&#10;Description automatically generated">
            <a:extLst>
              <a:ext uri="{FF2B5EF4-FFF2-40B4-BE49-F238E27FC236}">
                <a16:creationId xmlns:a16="http://schemas.microsoft.com/office/drawing/2014/main" id="{BB13577E-9475-4E59-B865-BE276100A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28014" y="1558498"/>
            <a:ext cx="2152588" cy="2152588"/>
          </a:xfrm>
          <a:prstGeom prst="rect">
            <a:avLst/>
          </a:prstGeom>
        </p:spPr>
      </p:pic>
      <p:sp>
        <p:nvSpPr>
          <p:cNvPr id="20" name="TextBox 19">
            <a:extLst>
              <a:ext uri="{FF2B5EF4-FFF2-40B4-BE49-F238E27FC236}">
                <a16:creationId xmlns:a16="http://schemas.microsoft.com/office/drawing/2014/main" id="{B017D690-4A10-499A-A9C6-0851058E91B7}"/>
              </a:ext>
            </a:extLst>
          </p:cNvPr>
          <p:cNvSpPr txBox="1"/>
          <p:nvPr/>
        </p:nvSpPr>
        <p:spPr>
          <a:xfrm>
            <a:off x="904973" y="4068395"/>
            <a:ext cx="4760536" cy="2462213"/>
          </a:xfrm>
          <a:prstGeom prst="rect">
            <a:avLst/>
          </a:prstGeom>
          <a:solidFill>
            <a:schemeClr val="tx1">
              <a:alpha val="75000"/>
            </a:schemeClr>
          </a:solidFill>
        </p:spPr>
        <p:txBody>
          <a:bodyPr wrap="square" lIns="0" tIns="0" rIns="0" bIns="0" rtlCol="0">
            <a:spAutoFit/>
          </a:bodyPr>
          <a:lstStyle/>
          <a:p>
            <a:pPr marL="342900" indent="-342900" algn="l">
              <a:buFont typeface="Arial" panose="020B0604020202020204" pitchFamily="34" charset="0"/>
              <a:buChar char="•"/>
            </a:pPr>
            <a:r>
              <a:rPr lang="en-GB" sz="2000" dirty="0">
                <a:solidFill>
                  <a:schemeClr val="bg1"/>
                </a:solidFill>
              </a:rPr>
              <a:t>Don’t have data of your own?</a:t>
            </a:r>
          </a:p>
          <a:p>
            <a:pPr marL="342900" indent="-342900" algn="l">
              <a:buFont typeface="Arial" panose="020B0604020202020204" pitchFamily="34" charset="0"/>
              <a:buChar char="•"/>
            </a:pPr>
            <a:r>
              <a:rPr lang="en-GB" sz="2000" dirty="0">
                <a:solidFill>
                  <a:schemeClr val="bg1"/>
                </a:solidFill>
              </a:rPr>
              <a:t>Use the Hack Packs located at </a:t>
            </a:r>
            <a:r>
              <a:rPr lang="en-GB" sz="2000" dirty="0">
                <a:solidFill>
                  <a:schemeClr val="bg1"/>
                </a:solidFill>
                <a:hlinkClick r:id="rId6"/>
              </a:rPr>
              <a:t>AKA.MS/HackAtSpeed</a:t>
            </a:r>
            <a:r>
              <a:rPr lang="en-GB" sz="2000" dirty="0">
                <a:solidFill>
                  <a:schemeClr val="bg1"/>
                </a:solidFill>
              </a:rPr>
              <a:t>.</a:t>
            </a:r>
          </a:p>
          <a:p>
            <a:pPr marL="342900" indent="-342900" algn="l">
              <a:buFont typeface="Arial" panose="020B0604020202020204" pitchFamily="34" charset="0"/>
              <a:buChar char="•"/>
            </a:pPr>
            <a:r>
              <a:rPr lang="en-GB" sz="2000" dirty="0">
                <a:solidFill>
                  <a:schemeClr val="bg1"/>
                </a:solidFill>
              </a:rPr>
              <a:t>Select a “story” or industry.</a:t>
            </a:r>
          </a:p>
          <a:p>
            <a:pPr marL="342900" indent="-342900" algn="l">
              <a:buFont typeface="Arial" panose="020B0604020202020204" pitchFamily="34" charset="0"/>
              <a:buChar char="•"/>
            </a:pPr>
            <a:r>
              <a:rPr lang="en-GB" sz="2000" dirty="0">
                <a:solidFill>
                  <a:schemeClr val="bg1"/>
                </a:solidFill>
              </a:rPr>
              <a:t>Decide how you would like to hack.</a:t>
            </a:r>
          </a:p>
          <a:p>
            <a:pPr marL="342900" indent="-342900" algn="l">
              <a:buFont typeface="Arial" panose="020B0604020202020204" pitchFamily="34" charset="0"/>
              <a:buChar char="•"/>
            </a:pPr>
            <a:r>
              <a:rPr lang="en-GB" sz="2000" dirty="0">
                <a:solidFill>
                  <a:schemeClr val="bg1"/>
                </a:solidFill>
              </a:rPr>
              <a:t>Be creative and build something awesome.</a:t>
            </a:r>
          </a:p>
          <a:p>
            <a:pPr marL="342900" indent="-342900" algn="l">
              <a:buFont typeface="Arial" panose="020B0604020202020204" pitchFamily="34" charset="0"/>
              <a:buChar char="•"/>
            </a:pPr>
            <a:endParaRPr lang="en-GB" sz="2000" dirty="0" err="1">
              <a:solidFill>
                <a:schemeClr val="bg1"/>
              </a:solidFill>
            </a:endParaRPr>
          </a:p>
        </p:txBody>
      </p:sp>
      <p:sp>
        <p:nvSpPr>
          <p:cNvPr id="24" name="TextBox 23">
            <a:extLst>
              <a:ext uri="{FF2B5EF4-FFF2-40B4-BE49-F238E27FC236}">
                <a16:creationId xmlns:a16="http://schemas.microsoft.com/office/drawing/2014/main" id="{617298E6-EF53-4D2D-B3FC-C63AA0898451}"/>
              </a:ext>
            </a:extLst>
          </p:cNvPr>
          <p:cNvSpPr txBox="1"/>
          <p:nvPr/>
        </p:nvSpPr>
        <p:spPr>
          <a:xfrm>
            <a:off x="6600334" y="4068395"/>
            <a:ext cx="4760536" cy="2462213"/>
          </a:xfrm>
          <a:prstGeom prst="rect">
            <a:avLst/>
          </a:prstGeom>
          <a:solidFill>
            <a:schemeClr val="tx1">
              <a:alpha val="75000"/>
            </a:schemeClr>
          </a:solidFill>
        </p:spPr>
        <p:txBody>
          <a:bodyPr wrap="square" lIns="0" tIns="0" rIns="0" bIns="0" rtlCol="0">
            <a:spAutoFit/>
          </a:bodyPr>
          <a:lstStyle/>
          <a:p>
            <a:pPr marL="342900" indent="-342900" algn="l">
              <a:buFont typeface="Arial" panose="020B0604020202020204" pitchFamily="34" charset="0"/>
              <a:buChar char="•"/>
            </a:pPr>
            <a:r>
              <a:rPr lang="en-GB" sz="2000" dirty="0">
                <a:solidFill>
                  <a:schemeClr val="bg1"/>
                </a:solidFill>
              </a:rPr>
              <a:t>Bring your Own Data</a:t>
            </a:r>
          </a:p>
          <a:p>
            <a:pPr marL="342900" indent="-342900" algn="l">
              <a:buFont typeface="Arial" panose="020B0604020202020204" pitchFamily="34" charset="0"/>
              <a:buChar char="•"/>
            </a:pPr>
            <a:r>
              <a:rPr lang="en-GB" sz="2000" dirty="0">
                <a:solidFill>
                  <a:schemeClr val="bg1"/>
                </a:solidFill>
              </a:rPr>
              <a:t>You decide and define the data set</a:t>
            </a:r>
          </a:p>
          <a:p>
            <a:pPr marL="342900" indent="-342900" algn="l">
              <a:buFont typeface="Arial" panose="020B0604020202020204" pitchFamily="34" charset="0"/>
              <a:buChar char="•"/>
            </a:pPr>
            <a:r>
              <a:rPr lang="en-GB" sz="2000" dirty="0">
                <a:solidFill>
                  <a:schemeClr val="bg1"/>
                </a:solidFill>
              </a:rPr>
              <a:t>You bring your relevant business problems to focus on.</a:t>
            </a:r>
          </a:p>
          <a:p>
            <a:pPr marL="342900" indent="-342900" algn="l">
              <a:buFont typeface="Arial" panose="020B0604020202020204" pitchFamily="34" charset="0"/>
              <a:buChar char="•"/>
            </a:pPr>
            <a:r>
              <a:rPr lang="en-GB" sz="2000" dirty="0">
                <a:solidFill>
                  <a:schemeClr val="bg1"/>
                </a:solidFill>
              </a:rPr>
              <a:t>Decide how you would like to hack.</a:t>
            </a:r>
          </a:p>
          <a:p>
            <a:pPr marL="342900" indent="-342900" algn="l">
              <a:buFont typeface="Arial" panose="020B0604020202020204" pitchFamily="34" charset="0"/>
              <a:buChar char="•"/>
            </a:pPr>
            <a:r>
              <a:rPr lang="en-GB" sz="2000" dirty="0">
                <a:solidFill>
                  <a:schemeClr val="bg1"/>
                </a:solidFill>
              </a:rPr>
              <a:t>Align to your defined scenario.</a:t>
            </a:r>
          </a:p>
          <a:p>
            <a:pPr marL="342900" indent="-342900" algn="l">
              <a:buFont typeface="Arial" panose="020B0604020202020204" pitchFamily="34" charset="0"/>
              <a:buChar char="•"/>
            </a:pPr>
            <a:r>
              <a:rPr lang="en-GB" sz="2000" dirty="0">
                <a:solidFill>
                  <a:schemeClr val="bg1"/>
                </a:solidFill>
              </a:rPr>
              <a:t>Create something to solve the problem.</a:t>
            </a:r>
          </a:p>
        </p:txBody>
      </p:sp>
      <p:sp>
        <p:nvSpPr>
          <p:cNvPr id="3" name="Lightning Bolt 2">
            <a:extLst>
              <a:ext uri="{FF2B5EF4-FFF2-40B4-BE49-F238E27FC236}">
                <a16:creationId xmlns:a16="http://schemas.microsoft.com/office/drawing/2014/main" id="{00B377EE-C3A2-4332-B3A1-29C0A299A448}"/>
              </a:ext>
            </a:extLst>
          </p:cNvPr>
          <p:cNvSpPr/>
          <p:nvPr/>
        </p:nvSpPr>
        <p:spPr bwMode="auto">
          <a:xfrm rot="1080859">
            <a:off x="1476461" y="2160958"/>
            <a:ext cx="1397329" cy="988861"/>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Storm_exclamation">
            <a:hlinkClick r:id="" action="ppaction://media"/>
            <a:extLst>
              <a:ext uri="{FF2B5EF4-FFF2-40B4-BE49-F238E27FC236}">
                <a16:creationId xmlns:a16="http://schemas.microsoft.com/office/drawing/2014/main" id="{410BD3D0-6B7D-4401-853B-DD230A25DED6}"/>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606783" y="6286926"/>
            <a:ext cx="487363" cy="487363"/>
          </a:xfrm>
          <a:prstGeom prst="rect">
            <a:avLst/>
          </a:prstGeom>
        </p:spPr>
      </p:pic>
    </p:spTree>
    <p:extLst>
      <p:ext uri="{BB962C8B-B14F-4D97-AF65-F5344CB8AC3E}">
        <p14:creationId xmlns:p14="http://schemas.microsoft.com/office/powerpoint/2010/main" val="2028168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800"/>
                                        <p:tgtEl>
                                          <p:spTgt spid="3"/>
                                        </p:tgtEl>
                                      </p:cBhvr>
                                    </p:animEffect>
                                  </p:childTnLst>
                                </p:cTn>
                              </p:par>
                              <p:par>
                                <p:cTn id="8" presetID="1" presetClass="mediacall" presetSubtype="0" fill="hold" nodeType="withEffect">
                                  <p:stCondLst>
                                    <p:cond delay="0"/>
                                  </p:stCondLst>
                                  <p:childTnLst>
                                    <p:cmd type="call" cmd="playFrom(0.0)">
                                      <p:cBhvr>
                                        <p:cTn id="9" dur="535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4"/>
                </p:tgtEl>
              </p:cMediaNode>
            </p:audio>
          </p:childTnLst>
        </p:cTn>
      </p:par>
    </p:tnLst>
    <p:bldLst>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60CA8-CF31-42D5-9E41-CD9D72659ECD}"/>
              </a:ext>
            </a:extLst>
          </p:cNvPr>
          <p:cNvSpPr>
            <a:spLocks noGrp="1"/>
          </p:cNvSpPr>
          <p:nvPr>
            <p:ph type="title"/>
          </p:nvPr>
        </p:nvSpPr>
        <p:spPr/>
        <p:txBody>
          <a:bodyPr/>
          <a:lstStyle/>
          <a:p>
            <a:r>
              <a:rPr lang="en-GB" dirty="0"/>
              <a:t>Hack Options</a:t>
            </a:r>
          </a:p>
        </p:txBody>
      </p:sp>
      <p:sp>
        <p:nvSpPr>
          <p:cNvPr id="4" name="Rectangle 3">
            <a:extLst>
              <a:ext uri="{FF2B5EF4-FFF2-40B4-BE49-F238E27FC236}">
                <a16:creationId xmlns:a16="http://schemas.microsoft.com/office/drawing/2014/main" id="{5530C6C1-EA87-432D-97C0-B656C1D927B2}"/>
              </a:ext>
            </a:extLst>
          </p:cNvPr>
          <p:cNvSpPr/>
          <p:nvPr/>
        </p:nvSpPr>
        <p:spPr bwMode="auto">
          <a:xfrm>
            <a:off x="904973" y="1366887"/>
            <a:ext cx="4760536" cy="2535810"/>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4524A806-62DB-43C3-B1D1-9893F73621EC}"/>
              </a:ext>
            </a:extLst>
          </p:cNvPr>
          <p:cNvSpPr/>
          <p:nvPr/>
        </p:nvSpPr>
        <p:spPr bwMode="auto">
          <a:xfrm>
            <a:off x="6600334" y="1366887"/>
            <a:ext cx="4760536" cy="253581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highlight>
                <a:srgbClr val="FF0000"/>
              </a:highlight>
              <a:ea typeface="Segoe UI" pitchFamily="34" charset="0"/>
              <a:cs typeface="Segoe UI" pitchFamily="34" charset="0"/>
            </a:endParaRPr>
          </a:p>
        </p:txBody>
      </p:sp>
      <p:sp>
        <p:nvSpPr>
          <p:cNvPr id="7" name="Rectangle 6">
            <a:extLst>
              <a:ext uri="{FF2B5EF4-FFF2-40B4-BE49-F238E27FC236}">
                <a16:creationId xmlns:a16="http://schemas.microsoft.com/office/drawing/2014/main" id="{0179D7E9-B867-4521-9D24-BB39E5B1A9D4}"/>
              </a:ext>
            </a:extLst>
          </p:cNvPr>
          <p:cNvSpPr/>
          <p:nvPr/>
        </p:nvSpPr>
        <p:spPr bwMode="auto">
          <a:xfrm>
            <a:off x="904973" y="4149365"/>
            <a:ext cx="4760536" cy="253581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F21F7BA-FFD1-4EDC-913D-004F189DEE84}"/>
              </a:ext>
            </a:extLst>
          </p:cNvPr>
          <p:cNvSpPr/>
          <p:nvPr/>
        </p:nvSpPr>
        <p:spPr bwMode="auto">
          <a:xfrm>
            <a:off x="6600334" y="4149365"/>
            <a:ext cx="4760536" cy="25358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D189311A-C511-4F2A-B781-F77894700663}"/>
              </a:ext>
            </a:extLst>
          </p:cNvPr>
          <p:cNvSpPr txBox="1"/>
          <p:nvPr/>
        </p:nvSpPr>
        <p:spPr>
          <a:xfrm>
            <a:off x="9331300" y="3111517"/>
            <a:ext cx="2029570"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Get Creative</a:t>
            </a:r>
          </a:p>
        </p:txBody>
      </p:sp>
      <p:sp>
        <p:nvSpPr>
          <p:cNvPr id="12" name="TextBox 11">
            <a:extLst>
              <a:ext uri="{FF2B5EF4-FFF2-40B4-BE49-F238E27FC236}">
                <a16:creationId xmlns:a16="http://schemas.microsoft.com/office/drawing/2014/main" id="{DAEA64CB-6E00-4375-9F52-47D050E99E48}"/>
              </a:ext>
            </a:extLst>
          </p:cNvPr>
          <p:cNvSpPr txBox="1"/>
          <p:nvPr/>
        </p:nvSpPr>
        <p:spPr>
          <a:xfrm>
            <a:off x="3390026" y="3041022"/>
            <a:ext cx="2327876"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Lab Style Hack</a:t>
            </a:r>
          </a:p>
        </p:txBody>
      </p:sp>
      <p:sp>
        <p:nvSpPr>
          <p:cNvPr id="13" name="TextBox 12">
            <a:extLst>
              <a:ext uri="{FF2B5EF4-FFF2-40B4-BE49-F238E27FC236}">
                <a16:creationId xmlns:a16="http://schemas.microsoft.com/office/drawing/2014/main" id="{541735E7-0F9D-49AF-877A-FA8D113AEBDA}"/>
              </a:ext>
            </a:extLst>
          </p:cNvPr>
          <p:cNvSpPr txBox="1"/>
          <p:nvPr/>
        </p:nvSpPr>
        <p:spPr>
          <a:xfrm>
            <a:off x="3390026" y="5200353"/>
            <a:ext cx="2275483" cy="1292662"/>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Double or Nothing</a:t>
            </a:r>
          </a:p>
        </p:txBody>
      </p:sp>
      <p:sp>
        <p:nvSpPr>
          <p:cNvPr id="14" name="TextBox 13">
            <a:extLst>
              <a:ext uri="{FF2B5EF4-FFF2-40B4-BE49-F238E27FC236}">
                <a16:creationId xmlns:a16="http://schemas.microsoft.com/office/drawing/2014/main" id="{CB8B5969-668E-45D1-8B29-BB54039F18BB}"/>
              </a:ext>
            </a:extLst>
          </p:cNvPr>
          <p:cNvSpPr txBox="1"/>
          <p:nvPr/>
        </p:nvSpPr>
        <p:spPr>
          <a:xfrm>
            <a:off x="9331300" y="5633087"/>
            <a:ext cx="2275483" cy="861774"/>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Dream</a:t>
            </a:r>
          </a:p>
          <a:p>
            <a:pPr algn="l"/>
            <a:r>
              <a:rPr lang="en-GB" sz="2800" dirty="0">
                <a:solidFill>
                  <a:schemeClr val="bg1"/>
                </a:solidFill>
                <a:latin typeface="Last ninja" panose="020B0500000000000000" pitchFamily="34" charset="0"/>
              </a:rPr>
              <a:t>Team</a:t>
            </a:r>
          </a:p>
        </p:txBody>
      </p:sp>
      <p:pic>
        <p:nvPicPr>
          <p:cNvPr id="24" name="Picture 23" descr="A picture containing drawing&#10;&#10;Description automatically generated">
            <a:extLst>
              <a:ext uri="{FF2B5EF4-FFF2-40B4-BE49-F238E27FC236}">
                <a16:creationId xmlns:a16="http://schemas.microsoft.com/office/drawing/2014/main" id="{C250D8F1-F8F7-4152-B0DB-8E9055414B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6737" y="4368230"/>
            <a:ext cx="2098077" cy="2098077"/>
          </a:xfrm>
          <a:prstGeom prst="rect">
            <a:avLst/>
          </a:prstGeom>
        </p:spPr>
      </p:pic>
      <p:pic>
        <p:nvPicPr>
          <p:cNvPr id="17" name="Storm_exclamation">
            <a:hlinkClick r:id="" action="ppaction://media"/>
            <a:extLst>
              <a:ext uri="{FF2B5EF4-FFF2-40B4-BE49-F238E27FC236}">
                <a16:creationId xmlns:a16="http://schemas.microsoft.com/office/drawing/2014/main" id="{EA7A028C-89B4-4213-837D-12C9015608D9}"/>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606783" y="6286926"/>
            <a:ext cx="487363" cy="487363"/>
          </a:xfrm>
          <a:prstGeom prst="rect">
            <a:avLst/>
          </a:prstGeom>
        </p:spPr>
      </p:pic>
      <p:pic>
        <p:nvPicPr>
          <p:cNvPr id="9" name="Picture 8" descr="A close up of a logo&#10;&#10;Description automatically generated">
            <a:extLst>
              <a:ext uri="{FF2B5EF4-FFF2-40B4-BE49-F238E27FC236}">
                <a16:creationId xmlns:a16="http://schemas.microsoft.com/office/drawing/2014/main" id="{9835904F-5881-4B22-833B-7D73E7CC9E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5572" y="1542514"/>
            <a:ext cx="2184556" cy="2184556"/>
          </a:xfrm>
          <a:prstGeom prst="rect">
            <a:avLst/>
          </a:prstGeom>
        </p:spPr>
      </p:pic>
      <p:pic>
        <p:nvPicPr>
          <p:cNvPr id="19" name="Picture 18" descr="A picture containing clock, room&#10;&#10;Description automatically generated">
            <a:extLst>
              <a:ext uri="{FF2B5EF4-FFF2-40B4-BE49-F238E27FC236}">
                <a16:creationId xmlns:a16="http://schemas.microsoft.com/office/drawing/2014/main" id="{416BD2CA-8DB7-4CD3-A803-6306F9E639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6335" y="1495548"/>
            <a:ext cx="2231522" cy="2231522"/>
          </a:xfrm>
          <a:prstGeom prst="rect">
            <a:avLst/>
          </a:prstGeom>
        </p:spPr>
      </p:pic>
      <p:pic>
        <p:nvPicPr>
          <p:cNvPr id="23" name="Picture 22" descr="A picture containing room&#10;&#10;Description automatically generated">
            <a:extLst>
              <a:ext uri="{FF2B5EF4-FFF2-40B4-BE49-F238E27FC236}">
                <a16:creationId xmlns:a16="http://schemas.microsoft.com/office/drawing/2014/main" id="{D652A05C-8DF0-4ACF-9DDB-06E1A4E337A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9273" y="4327047"/>
            <a:ext cx="2185645" cy="2185645"/>
          </a:xfrm>
          <a:prstGeom prst="rect">
            <a:avLst/>
          </a:prstGeom>
        </p:spPr>
      </p:pic>
      <p:sp>
        <p:nvSpPr>
          <p:cNvPr id="15" name="Lightning Bolt 14">
            <a:extLst>
              <a:ext uri="{FF2B5EF4-FFF2-40B4-BE49-F238E27FC236}">
                <a16:creationId xmlns:a16="http://schemas.microsoft.com/office/drawing/2014/main" id="{64D83981-1862-48F8-9234-8A723E89ECFC}"/>
              </a:ext>
            </a:extLst>
          </p:cNvPr>
          <p:cNvSpPr/>
          <p:nvPr/>
        </p:nvSpPr>
        <p:spPr bwMode="auto">
          <a:xfrm rot="1080859">
            <a:off x="1493430" y="2116878"/>
            <a:ext cx="1397329" cy="988861"/>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6623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800"/>
                                        <p:tgtEl>
                                          <p:spTgt spid="15"/>
                                        </p:tgtEl>
                                      </p:cBhvr>
                                    </p:animEffect>
                                  </p:childTnLst>
                                </p:cTn>
                              </p:par>
                              <p:par>
                                <p:cTn id="8" presetID="1" presetClass="mediacall" presetSubtype="0" fill="hold" nodeType="withEffect">
                                  <p:stCondLst>
                                    <p:cond delay="0"/>
                                  </p:stCondLst>
                                  <p:childTnLst>
                                    <p:cmd type="call" cmd="playFrom(0.0)">
                                      <p:cBhvr>
                                        <p:cTn id="9" dur="5352"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17"/>
                </p:tgtEl>
              </p:cMediaNode>
            </p:audio>
          </p:childTnLst>
        </p:cTn>
      </p:par>
    </p:tnLst>
    <p:bldLst>
      <p:bldP spid="1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60CA8-CF31-42D5-9E41-CD9D72659ECD}"/>
              </a:ext>
            </a:extLst>
          </p:cNvPr>
          <p:cNvSpPr>
            <a:spLocks noGrp="1"/>
          </p:cNvSpPr>
          <p:nvPr>
            <p:ph type="title"/>
          </p:nvPr>
        </p:nvSpPr>
        <p:spPr/>
        <p:txBody>
          <a:bodyPr/>
          <a:lstStyle/>
          <a:p>
            <a:r>
              <a:rPr lang="en-GB" dirty="0"/>
              <a:t>Judging Criteria</a:t>
            </a:r>
          </a:p>
        </p:txBody>
      </p:sp>
      <p:sp>
        <p:nvSpPr>
          <p:cNvPr id="4" name="Rectangle 3">
            <a:extLst>
              <a:ext uri="{FF2B5EF4-FFF2-40B4-BE49-F238E27FC236}">
                <a16:creationId xmlns:a16="http://schemas.microsoft.com/office/drawing/2014/main" id="{5530C6C1-EA87-432D-97C0-B656C1D927B2}"/>
              </a:ext>
            </a:extLst>
          </p:cNvPr>
          <p:cNvSpPr/>
          <p:nvPr/>
        </p:nvSpPr>
        <p:spPr bwMode="auto">
          <a:xfrm>
            <a:off x="904973" y="1366887"/>
            <a:ext cx="4760536" cy="2535810"/>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4524A806-62DB-43C3-B1D1-9893F73621EC}"/>
              </a:ext>
            </a:extLst>
          </p:cNvPr>
          <p:cNvSpPr/>
          <p:nvPr/>
        </p:nvSpPr>
        <p:spPr bwMode="auto">
          <a:xfrm>
            <a:off x="6600334" y="1366887"/>
            <a:ext cx="4760536" cy="253581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highlight>
                <a:srgbClr val="FF0000"/>
              </a:highlight>
              <a:ea typeface="Segoe UI" pitchFamily="34" charset="0"/>
              <a:cs typeface="Segoe UI" pitchFamily="34" charset="0"/>
            </a:endParaRPr>
          </a:p>
        </p:txBody>
      </p:sp>
      <p:sp>
        <p:nvSpPr>
          <p:cNvPr id="7" name="Rectangle 6">
            <a:extLst>
              <a:ext uri="{FF2B5EF4-FFF2-40B4-BE49-F238E27FC236}">
                <a16:creationId xmlns:a16="http://schemas.microsoft.com/office/drawing/2014/main" id="{0179D7E9-B867-4521-9D24-BB39E5B1A9D4}"/>
              </a:ext>
            </a:extLst>
          </p:cNvPr>
          <p:cNvSpPr/>
          <p:nvPr/>
        </p:nvSpPr>
        <p:spPr bwMode="auto">
          <a:xfrm>
            <a:off x="904973" y="4149365"/>
            <a:ext cx="4760536" cy="2535810"/>
          </a:xfrm>
          <a:prstGeom prst="rect">
            <a:avLst/>
          </a:prstGeom>
          <a:solidFill>
            <a:srgbClr val="E2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F21F7BA-FFD1-4EDC-913D-004F189DEE84}"/>
              </a:ext>
            </a:extLst>
          </p:cNvPr>
          <p:cNvSpPr/>
          <p:nvPr/>
        </p:nvSpPr>
        <p:spPr bwMode="auto">
          <a:xfrm>
            <a:off x="6600334" y="4149365"/>
            <a:ext cx="4760536" cy="253581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D189311A-C511-4F2A-B781-F77894700663}"/>
              </a:ext>
            </a:extLst>
          </p:cNvPr>
          <p:cNvSpPr txBox="1"/>
          <p:nvPr/>
        </p:nvSpPr>
        <p:spPr>
          <a:xfrm>
            <a:off x="9331300" y="3074525"/>
            <a:ext cx="2029570"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Be Creative</a:t>
            </a:r>
          </a:p>
        </p:txBody>
      </p:sp>
      <p:sp>
        <p:nvSpPr>
          <p:cNvPr id="12" name="TextBox 11">
            <a:extLst>
              <a:ext uri="{FF2B5EF4-FFF2-40B4-BE49-F238E27FC236}">
                <a16:creationId xmlns:a16="http://schemas.microsoft.com/office/drawing/2014/main" id="{DAEA64CB-6E00-4375-9F52-47D050E99E48}"/>
              </a:ext>
            </a:extLst>
          </p:cNvPr>
          <p:cNvSpPr txBox="1"/>
          <p:nvPr/>
        </p:nvSpPr>
        <p:spPr>
          <a:xfrm>
            <a:off x="3328516" y="2363913"/>
            <a:ext cx="2275483" cy="1292662"/>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Follow the Use Case</a:t>
            </a:r>
          </a:p>
        </p:txBody>
      </p:sp>
      <p:sp>
        <p:nvSpPr>
          <p:cNvPr id="13" name="TextBox 12">
            <a:extLst>
              <a:ext uri="{FF2B5EF4-FFF2-40B4-BE49-F238E27FC236}">
                <a16:creationId xmlns:a16="http://schemas.microsoft.com/office/drawing/2014/main" id="{541735E7-0F9D-49AF-877A-FA8D113AEBDA}"/>
              </a:ext>
            </a:extLst>
          </p:cNvPr>
          <p:cNvSpPr txBox="1"/>
          <p:nvPr/>
        </p:nvSpPr>
        <p:spPr>
          <a:xfrm>
            <a:off x="3390026" y="5850754"/>
            <a:ext cx="2275483" cy="615553"/>
          </a:xfrm>
          <a:prstGeom prst="rect">
            <a:avLst/>
          </a:prstGeom>
          <a:noFill/>
        </p:spPr>
        <p:txBody>
          <a:bodyPr wrap="square" lIns="0" tIns="0" rIns="0" bIns="0" rtlCol="0">
            <a:spAutoFit/>
          </a:bodyPr>
          <a:lstStyle/>
          <a:p>
            <a:pPr algn="l"/>
            <a:r>
              <a:rPr lang="en-GB" sz="2000" dirty="0">
                <a:solidFill>
                  <a:schemeClr val="bg1"/>
                </a:solidFill>
                <a:latin typeface="Last ninja" panose="020B0500000000000000" pitchFamily="34" charset="0"/>
              </a:rPr>
              <a:t>Technical Depth</a:t>
            </a:r>
          </a:p>
        </p:txBody>
      </p:sp>
      <p:sp>
        <p:nvSpPr>
          <p:cNvPr id="14" name="TextBox 13">
            <a:extLst>
              <a:ext uri="{FF2B5EF4-FFF2-40B4-BE49-F238E27FC236}">
                <a16:creationId xmlns:a16="http://schemas.microsoft.com/office/drawing/2014/main" id="{CB8B5969-668E-45D1-8B29-BB54039F18BB}"/>
              </a:ext>
            </a:extLst>
          </p:cNvPr>
          <p:cNvSpPr txBox="1"/>
          <p:nvPr/>
        </p:nvSpPr>
        <p:spPr>
          <a:xfrm>
            <a:off x="9331300" y="5633087"/>
            <a:ext cx="2275483" cy="861774"/>
          </a:xfrm>
          <a:prstGeom prst="rect">
            <a:avLst/>
          </a:prstGeom>
          <a:noFill/>
        </p:spPr>
        <p:txBody>
          <a:bodyPr wrap="square" lIns="0" tIns="0" rIns="0" bIns="0" rtlCol="0">
            <a:spAutoFit/>
          </a:bodyPr>
          <a:lstStyle/>
          <a:p>
            <a:pPr algn="l"/>
            <a:r>
              <a:rPr lang="en-GB" sz="2800" dirty="0">
                <a:solidFill>
                  <a:schemeClr val="bg1"/>
                </a:solidFill>
                <a:latin typeface="Last ninja" panose="020B0500000000000000" pitchFamily="34" charset="0"/>
              </a:rPr>
              <a:t>Future Use</a:t>
            </a:r>
          </a:p>
        </p:txBody>
      </p:sp>
      <p:pic>
        <p:nvPicPr>
          <p:cNvPr id="6" name="Picture 5" descr="A picture containing drawing&#10;&#10;Description automatically generated">
            <a:extLst>
              <a:ext uri="{FF2B5EF4-FFF2-40B4-BE49-F238E27FC236}">
                <a16:creationId xmlns:a16="http://schemas.microsoft.com/office/drawing/2014/main" id="{9E11D6A0-7373-4AF1-B217-EED775B565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0451" y="1503156"/>
            <a:ext cx="2152587" cy="2152587"/>
          </a:xfrm>
          <a:prstGeom prst="rect">
            <a:avLst/>
          </a:prstGeom>
        </p:spPr>
      </p:pic>
      <p:pic>
        <p:nvPicPr>
          <p:cNvPr id="10" name="Picture 9" descr="A picture containing clock, food, game&#10;&#10;Description automatically generated">
            <a:extLst>
              <a:ext uri="{FF2B5EF4-FFF2-40B4-BE49-F238E27FC236}">
                <a16:creationId xmlns:a16="http://schemas.microsoft.com/office/drawing/2014/main" id="{4469D2AE-0B78-4E9A-A534-BFE3A09593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24032" y="4342274"/>
            <a:ext cx="2152587" cy="2152587"/>
          </a:xfrm>
          <a:prstGeom prst="rect">
            <a:avLst/>
          </a:prstGeom>
        </p:spPr>
      </p:pic>
      <p:pic>
        <p:nvPicPr>
          <p:cNvPr id="19" name="Picture 18" descr="A picture containing clock, drawing&#10;&#10;Description automatically generated">
            <a:extLst>
              <a:ext uri="{FF2B5EF4-FFF2-40B4-BE49-F238E27FC236}">
                <a16:creationId xmlns:a16="http://schemas.microsoft.com/office/drawing/2014/main" id="{3F49921E-F427-488F-9380-C91A5AE7D03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0450" y="4342274"/>
            <a:ext cx="2152587" cy="2152587"/>
          </a:xfrm>
          <a:prstGeom prst="rect">
            <a:avLst/>
          </a:prstGeom>
        </p:spPr>
      </p:pic>
      <p:pic>
        <p:nvPicPr>
          <p:cNvPr id="23" name="Picture 22" descr="A picture containing drawing&#10;&#10;Description automatically generated">
            <a:extLst>
              <a:ext uri="{FF2B5EF4-FFF2-40B4-BE49-F238E27FC236}">
                <a16:creationId xmlns:a16="http://schemas.microsoft.com/office/drawing/2014/main" id="{33A627A0-8A69-43A4-BB01-8DA77AA08C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24032" y="1537491"/>
            <a:ext cx="2152587" cy="2152587"/>
          </a:xfrm>
          <a:prstGeom prst="rect">
            <a:avLst/>
          </a:prstGeom>
        </p:spPr>
      </p:pic>
      <p:sp>
        <p:nvSpPr>
          <p:cNvPr id="25" name="Lightning Bolt 24">
            <a:extLst>
              <a:ext uri="{FF2B5EF4-FFF2-40B4-BE49-F238E27FC236}">
                <a16:creationId xmlns:a16="http://schemas.microsoft.com/office/drawing/2014/main" id="{583D56F6-A3C2-45DF-8815-A5354CB09E67}"/>
              </a:ext>
            </a:extLst>
          </p:cNvPr>
          <p:cNvSpPr/>
          <p:nvPr/>
        </p:nvSpPr>
        <p:spPr bwMode="auto">
          <a:xfrm rot="1080859">
            <a:off x="5028905" y="3254314"/>
            <a:ext cx="2134190" cy="1682582"/>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 name="Storm_exclamation">
            <a:hlinkClick r:id="" action="ppaction://media"/>
            <a:extLst>
              <a:ext uri="{FF2B5EF4-FFF2-40B4-BE49-F238E27FC236}">
                <a16:creationId xmlns:a16="http://schemas.microsoft.com/office/drawing/2014/main" id="{D42F463E-DA78-4110-8D6F-9C5A30CC681D}"/>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606783" y="6286926"/>
            <a:ext cx="487363" cy="487363"/>
          </a:xfrm>
          <a:prstGeom prst="rect">
            <a:avLst/>
          </a:prstGeom>
        </p:spPr>
      </p:pic>
    </p:spTree>
    <p:extLst>
      <p:ext uri="{BB962C8B-B14F-4D97-AF65-F5344CB8AC3E}">
        <p14:creationId xmlns:p14="http://schemas.microsoft.com/office/powerpoint/2010/main" val="2047519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800"/>
                                        <p:tgtEl>
                                          <p:spTgt spid="25"/>
                                        </p:tgtEl>
                                      </p:cBhvr>
                                    </p:animEffect>
                                  </p:childTnLst>
                                </p:cTn>
                              </p:par>
                              <p:par>
                                <p:cTn id="8" presetID="1" presetClass="mediacall" presetSubtype="0" fill="hold" nodeType="withEffect">
                                  <p:stCondLst>
                                    <p:cond delay="0"/>
                                  </p:stCondLst>
                                  <p:childTnLst>
                                    <p:cmd type="call" cmd="playFrom(0.0)">
                                      <p:cBhvr>
                                        <p:cTn id="9" dur="5352" fill="hold"/>
                                        <p:tgtEl>
                                          <p:spTgt spid="2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26"/>
                </p:tgtEl>
              </p:cMediaNode>
            </p:audio>
          </p:childTnLst>
        </p:cTn>
      </p:par>
    </p:tnLst>
    <p:bldLst>
      <p:bldP spid="2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20B23-A3E3-4D69-9A73-F36F505251DE}"/>
              </a:ext>
            </a:extLst>
          </p:cNvPr>
          <p:cNvSpPr>
            <a:spLocks noGrp="1"/>
          </p:cNvSpPr>
          <p:nvPr>
            <p:ph type="title"/>
          </p:nvPr>
        </p:nvSpPr>
        <p:spPr>
          <a:xfrm>
            <a:off x="584200" y="3767199"/>
            <a:ext cx="5090459" cy="1118566"/>
          </a:xfrm>
          <a:solidFill>
            <a:schemeClr val="bg2">
              <a:lumMod val="10000"/>
              <a:alpha val="75000"/>
            </a:schemeClr>
          </a:solidFill>
        </p:spPr>
        <p:txBody>
          <a:bodyPr anchor="ctr"/>
          <a:lstStyle/>
          <a:p>
            <a:r>
              <a:rPr lang="en-GB" dirty="0">
                <a:solidFill>
                  <a:schemeClr val="bg1"/>
                </a:solidFill>
              </a:rPr>
              <a:t>Use Cases / User Stories</a:t>
            </a:r>
          </a:p>
        </p:txBody>
      </p:sp>
    </p:spTree>
    <p:extLst>
      <p:ext uri="{BB962C8B-B14F-4D97-AF65-F5344CB8AC3E}">
        <p14:creationId xmlns:p14="http://schemas.microsoft.com/office/powerpoint/2010/main" val="378311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4C0BE-1FC6-442E-86AE-C10877F81999}"/>
              </a:ext>
            </a:extLst>
          </p:cNvPr>
          <p:cNvSpPr>
            <a:spLocks noGrp="1"/>
          </p:cNvSpPr>
          <p:nvPr>
            <p:ph type="title"/>
          </p:nvPr>
        </p:nvSpPr>
        <p:spPr/>
        <p:txBody>
          <a:bodyPr/>
          <a:lstStyle/>
          <a:p>
            <a:r>
              <a:rPr lang="en-GB" dirty="0"/>
              <a:t>Bring Your Own Data</a:t>
            </a:r>
          </a:p>
        </p:txBody>
      </p:sp>
      <p:sp>
        <p:nvSpPr>
          <p:cNvPr id="6" name="Text Placeholder 5">
            <a:extLst>
              <a:ext uri="{FF2B5EF4-FFF2-40B4-BE49-F238E27FC236}">
                <a16:creationId xmlns:a16="http://schemas.microsoft.com/office/drawing/2014/main" id="{26A503F7-8765-4607-9EF0-DC4A750C44B4}"/>
              </a:ext>
            </a:extLst>
          </p:cNvPr>
          <p:cNvSpPr>
            <a:spLocks noGrp="1"/>
          </p:cNvSpPr>
          <p:nvPr>
            <p:ph type="body" sz="quarter" idx="10"/>
          </p:nvPr>
        </p:nvSpPr>
        <p:spPr>
          <a:xfrm>
            <a:off x="584200" y="3535542"/>
            <a:ext cx="4162425" cy="923330"/>
          </a:xfrm>
        </p:spPr>
        <p:txBody>
          <a:bodyPr/>
          <a:lstStyle/>
          <a:p>
            <a:r>
              <a:rPr lang="en-GB" dirty="0"/>
              <a:t>Add in your own user stories and explain these to the audience so that they understand the approach</a:t>
            </a:r>
          </a:p>
        </p:txBody>
      </p:sp>
      <p:pic>
        <p:nvPicPr>
          <p:cNvPr id="12" name="Picture 11" descr="A close up of a sign&#10;&#10;Description automatically generated">
            <a:extLst>
              <a:ext uri="{FF2B5EF4-FFF2-40B4-BE49-F238E27FC236}">
                <a16:creationId xmlns:a16="http://schemas.microsoft.com/office/drawing/2014/main" id="{95AB91CF-C92C-4A8A-9399-555C3B4A20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0111" y="695552"/>
            <a:ext cx="4876190" cy="4876190"/>
          </a:xfrm>
          <a:prstGeom prst="rect">
            <a:avLst/>
          </a:prstGeom>
        </p:spPr>
      </p:pic>
    </p:spTree>
    <p:extLst>
      <p:ext uri="{BB962C8B-B14F-4D97-AF65-F5344CB8AC3E}">
        <p14:creationId xmlns:p14="http://schemas.microsoft.com/office/powerpoint/2010/main" val="104600757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4C0BE-1FC6-442E-86AE-C10877F81999}"/>
              </a:ext>
            </a:extLst>
          </p:cNvPr>
          <p:cNvSpPr>
            <a:spLocks noGrp="1"/>
          </p:cNvSpPr>
          <p:nvPr>
            <p:ph type="title"/>
          </p:nvPr>
        </p:nvSpPr>
        <p:spPr>
          <a:xfrm>
            <a:off x="584201" y="2579649"/>
            <a:ext cx="4161981" cy="553998"/>
          </a:xfrm>
        </p:spPr>
        <p:txBody>
          <a:bodyPr/>
          <a:lstStyle/>
          <a:p>
            <a:r>
              <a:rPr lang="en-GB" dirty="0"/>
              <a:t>Use the Hack Packs</a:t>
            </a:r>
          </a:p>
        </p:txBody>
      </p:sp>
      <p:sp>
        <p:nvSpPr>
          <p:cNvPr id="6" name="Text Placeholder 5">
            <a:extLst>
              <a:ext uri="{FF2B5EF4-FFF2-40B4-BE49-F238E27FC236}">
                <a16:creationId xmlns:a16="http://schemas.microsoft.com/office/drawing/2014/main" id="{26A503F7-8765-4607-9EF0-DC4A750C44B4}"/>
              </a:ext>
            </a:extLst>
          </p:cNvPr>
          <p:cNvSpPr>
            <a:spLocks noGrp="1"/>
          </p:cNvSpPr>
          <p:nvPr>
            <p:ph type="body" sz="quarter" idx="10"/>
          </p:nvPr>
        </p:nvSpPr>
        <p:spPr>
          <a:xfrm>
            <a:off x="584200" y="3535542"/>
            <a:ext cx="4162425" cy="2893100"/>
          </a:xfrm>
        </p:spPr>
        <p:txBody>
          <a:bodyPr/>
          <a:lstStyle/>
          <a:p>
            <a:r>
              <a:rPr lang="en-GB" dirty="0"/>
              <a:t>Select your favourite Hack Pack and get started with the Hack. You can be as creative as you want with the data. </a:t>
            </a:r>
            <a:r>
              <a:rPr lang="en-GB" dirty="0">
                <a:hlinkClick r:id="rId2"/>
              </a:rPr>
              <a:t>AKA.MS/HackAtSpeed</a:t>
            </a:r>
            <a:endParaRPr lang="en-GB" dirty="0"/>
          </a:p>
          <a:p>
            <a:endParaRPr lang="en-GB" dirty="0"/>
          </a:p>
          <a:p>
            <a:r>
              <a:rPr lang="en-GB" dirty="0"/>
              <a:t>You don’t need to follow the lab, if you don’t want to, you can be as creative as you would like as explained in the Ways to Hack.</a:t>
            </a:r>
          </a:p>
        </p:txBody>
      </p:sp>
      <p:pic>
        <p:nvPicPr>
          <p:cNvPr id="3" name="Picture 2" descr="A picture containing graphics, drawing&#10;&#10;Description automatically generated">
            <a:extLst>
              <a:ext uri="{FF2B5EF4-FFF2-40B4-BE49-F238E27FC236}">
                <a16:creationId xmlns:a16="http://schemas.microsoft.com/office/drawing/2014/main" id="{BC602D5A-F885-4D6C-A276-50128EAEA5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0111" y="695552"/>
            <a:ext cx="4876190" cy="4876190"/>
          </a:xfrm>
          <a:prstGeom prst="rect">
            <a:avLst/>
          </a:prstGeom>
        </p:spPr>
      </p:pic>
    </p:spTree>
    <p:extLst>
      <p:ext uri="{BB962C8B-B14F-4D97-AF65-F5344CB8AC3E}">
        <p14:creationId xmlns:p14="http://schemas.microsoft.com/office/powerpoint/2010/main" val="38852509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D55CD764-972B-4CA5-A885-53E55C63E1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DFA115E-ADDD-4786-8AD8-6138872616B1}"/>
              </a:ext>
            </a:extLst>
          </p:cNvPr>
          <p:cNvSpPr>
            <a:spLocks noGrp="1"/>
          </p:cNvSpPr>
          <p:nvPr>
            <p:ph type="title"/>
          </p:nvPr>
        </p:nvSpPr>
        <p:spPr>
          <a:xfrm>
            <a:off x="594360" y="1474757"/>
            <a:ext cx="3734698" cy="3210269"/>
          </a:xfrm>
        </p:spPr>
        <p:txBody>
          <a:bodyPr vert="horz" lIns="91440" tIns="45720" rIns="91440" bIns="45720" rtlCol="0" anchor="ctr">
            <a:normAutofit/>
          </a:bodyPr>
          <a:lstStyle/>
          <a:p>
            <a:r>
              <a:rPr lang="en-US" sz="4800" kern="1200">
                <a:solidFill>
                  <a:schemeClr val="tx1"/>
                </a:solidFill>
                <a:latin typeface="+mj-lt"/>
                <a:ea typeface="+mj-ea"/>
                <a:cs typeface="+mj-cs"/>
              </a:rPr>
              <a:t>PLEASE REGISTER YOUR TEAM ASAP!</a:t>
            </a:r>
          </a:p>
        </p:txBody>
      </p:sp>
      <p:grpSp>
        <p:nvGrpSpPr>
          <p:cNvPr id="13" name="Group 12">
            <a:extLst>
              <a:ext uri="{FF2B5EF4-FFF2-40B4-BE49-F238E27FC236}">
                <a16:creationId xmlns:a16="http://schemas.microsoft.com/office/drawing/2014/main" id="{BEB2E44E-30A6-416E-A45D-B1E3286295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6167" y="2414016"/>
            <a:ext cx="232963" cy="1340860"/>
            <a:chOff x="56167" y="2050133"/>
            <a:chExt cx="232963" cy="1340860"/>
          </a:xfrm>
        </p:grpSpPr>
        <p:sp>
          <p:nvSpPr>
            <p:cNvPr id="14" name="Rectangle 2">
              <a:extLst>
                <a:ext uri="{FF2B5EF4-FFF2-40B4-BE49-F238E27FC236}">
                  <a16:creationId xmlns:a16="http://schemas.microsoft.com/office/drawing/2014/main" id="{FC3F1FAE-BAA2-4238-87B4-F57CD6E0D44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61989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59">
              <a:extLst>
                <a:ext uri="{FF2B5EF4-FFF2-40B4-BE49-F238E27FC236}">
                  <a16:creationId xmlns:a16="http://schemas.microsoft.com/office/drawing/2014/main" id="{089CF776-26E3-443A-9B0A-EBD6CE7AE9A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61989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2">
              <a:extLst>
                <a:ext uri="{FF2B5EF4-FFF2-40B4-BE49-F238E27FC236}">
                  <a16:creationId xmlns:a16="http://schemas.microsoft.com/office/drawing/2014/main" id="{1F6F9BAB-A8A1-4A62-86FC-5B3157A6E4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47777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59">
              <a:extLst>
                <a:ext uri="{FF2B5EF4-FFF2-40B4-BE49-F238E27FC236}">
                  <a16:creationId xmlns:a16="http://schemas.microsoft.com/office/drawing/2014/main" id="{7A2B6B81-FF9A-43F6-A1AE-917DAA4B024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47777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2">
              <a:extLst>
                <a:ext uri="{FF2B5EF4-FFF2-40B4-BE49-F238E27FC236}">
                  <a16:creationId xmlns:a16="http://schemas.microsoft.com/office/drawing/2014/main" id="{49817315-151B-4CB1-A230-5A36AF7FB4F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33566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59">
              <a:extLst>
                <a:ext uri="{FF2B5EF4-FFF2-40B4-BE49-F238E27FC236}">
                  <a16:creationId xmlns:a16="http://schemas.microsoft.com/office/drawing/2014/main" id="{6CC335AB-9541-4183-93A8-9687D50AB18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33566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2">
              <a:extLst>
                <a:ext uri="{FF2B5EF4-FFF2-40B4-BE49-F238E27FC236}">
                  <a16:creationId xmlns:a16="http://schemas.microsoft.com/office/drawing/2014/main" id="{ED940D30-BF06-4C7A-8790-F0D998247D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19355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59">
              <a:extLst>
                <a:ext uri="{FF2B5EF4-FFF2-40B4-BE49-F238E27FC236}">
                  <a16:creationId xmlns:a16="http://schemas.microsoft.com/office/drawing/2014/main" id="{A52173BB-5BB4-4AB9-AC66-79CF7406D8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19355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
              <a:extLst>
                <a:ext uri="{FF2B5EF4-FFF2-40B4-BE49-F238E27FC236}">
                  <a16:creationId xmlns:a16="http://schemas.microsoft.com/office/drawing/2014/main" id="{CD8A6114-D58C-4BB6-9AFE-064C927F3C3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05143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59">
              <a:extLst>
                <a:ext uri="{FF2B5EF4-FFF2-40B4-BE49-F238E27FC236}">
                  <a16:creationId xmlns:a16="http://schemas.microsoft.com/office/drawing/2014/main" id="{B4E88F94-25A1-4836-8BB3-4271B636B0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05143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
              <a:extLst>
                <a:ext uri="{FF2B5EF4-FFF2-40B4-BE49-F238E27FC236}">
                  <a16:creationId xmlns:a16="http://schemas.microsoft.com/office/drawing/2014/main" id="{25A83C54-E0E4-4E8A-9EE6-C17D2641713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333046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59">
              <a:extLst>
                <a:ext uri="{FF2B5EF4-FFF2-40B4-BE49-F238E27FC236}">
                  <a16:creationId xmlns:a16="http://schemas.microsoft.com/office/drawing/2014/main" id="{0675818B-7A46-4DED-BBFC-4697A4C04A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333046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
              <a:extLst>
                <a:ext uri="{FF2B5EF4-FFF2-40B4-BE49-F238E27FC236}">
                  <a16:creationId xmlns:a16="http://schemas.microsoft.com/office/drawing/2014/main" id="{AF3B1214-DA5A-4076-BE6B-3D9D3ECC63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318834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59">
              <a:extLst>
                <a:ext uri="{FF2B5EF4-FFF2-40B4-BE49-F238E27FC236}">
                  <a16:creationId xmlns:a16="http://schemas.microsoft.com/office/drawing/2014/main" id="{9E008EA5-BFDE-4E41-A137-7528BC706BF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318834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
              <a:extLst>
                <a:ext uri="{FF2B5EF4-FFF2-40B4-BE49-F238E27FC236}">
                  <a16:creationId xmlns:a16="http://schemas.microsoft.com/office/drawing/2014/main" id="{46544C80-52A4-45E4-BFA9-EF2DF3498E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304623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59">
              <a:extLst>
                <a:ext uri="{FF2B5EF4-FFF2-40B4-BE49-F238E27FC236}">
                  <a16:creationId xmlns:a16="http://schemas.microsoft.com/office/drawing/2014/main" id="{905E3B05-2EB1-44FB-ADE8-F4CD5217AAF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304623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
              <a:extLst>
                <a:ext uri="{FF2B5EF4-FFF2-40B4-BE49-F238E27FC236}">
                  <a16:creationId xmlns:a16="http://schemas.microsoft.com/office/drawing/2014/main" id="{02542866-00BE-41E8-955D-E3B4E6E035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90412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59">
              <a:extLst>
                <a:ext uri="{FF2B5EF4-FFF2-40B4-BE49-F238E27FC236}">
                  <a16:creationId xmlns:a16="http://schemas.microsoft.com/office/drawing/2014/main" id="{ADC9572A-D4F6-4C5A-B2C8-C00E855CB9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90412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2">
              <a:extLst>
                <a:ext uri="{FF2B5EF4-FFF2-40B4-BE49-F238E27FC236}">
                  <a16:creationId xmlns:a16="http://schemas.microsoft.com/office/drawing/2014/main" id="{BBF83543-D986-4CD0-A24E-9802847B83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228600" y="276200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59">
              <a:extLst>
                <a:ext uri="{FF2B5EF4-FFF2-40B4-BE49-F238E27FC236}">
                  <a16:creationId xmlns:a16="http://schemas.microsoft.com/office/drawing/2014/main" id="{15E8B8C4-D90E-4DC6-BA2D-D21C33318C7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4864" y="276200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Rectangle 34">
            <a:extLst>
              <a:ext uri="{FF2B5EF4-FFF2-40B4-BE49-F238E27FC236}">
                <a16:creationId xmlns:a16="http://schemas.microsoft.com/office/drawing/2014/main" id="{34165AB3-7006-4430-BCE3-25476BE133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4472"/>
            <a:ext cx="5291468" cy="14904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28378C3F-5DA3-4FAF-961F-E843B61E4BAF}"/>
              </a:ext>
            </a:extLst>
          </p:cNvPr>
          <p:cNvSpPr txBox="1"/>
          <p:nvPr/>
        </p:nvSpPr>
        <p:spPr>
          <a:xfrm>
            <a:off x="594360" y="5540035"/>
            <a:ext cx="4376651" cy="795528"/>
          </a:xfrm>
          <a:prstGeom prst="rect">
            <a:avLst/>
          </a:prstGeom>
        </p:spPr>
        <p:txBody>
          <a:bodyPr vert="horz" lIns="91440" tIns="45720" rIns="91440" bIns="45720" rtlCol="0" anchor="ctr">
            <a:normAutofit/>
          </a:bodyPr>
          <a:lstStyle/>
          <a:p>
            <a:pPr>
              <a:lnSpc>
                <a:spcPct val="90000"/>
              </a:lnSpc>
              <a:spcBef>
                <a:spcPts val="1000"/>
              </a:spcBef>
            </a:pPr>
            <a:r>
              <a:rPr lang="en-US" sz="2400" kern="1200" dirty="0">
                <a:solidFill>
                  <a:schemeClr val="tx1"/>
                </a:solidFill>
                <a:latin typeface="+mn-lt"/>
                <a:ea typeface="+mn-ea"/>
                <a:cs typeface="+mn-cs"/>
              </a:rPr>
              <a:t>AKA.MS/</a:t>
            </a:r>
            <a:r>
              <a:rPr lang="en-US" sz="2400" kern="1200" dirty="0" err="1">
                <a:solidFill>
                  <a:schemeClr val="tx1"/>
                </a:solidFill>
                <a:latin typeface="+mn-lt"/>
                <a:ea typeface="+mn-ea"/>
                <a:cs typeface="+mn-cs"/>
              </a:rPr>
              <a:t>HackAtSpeedTeamReg</a:t>
            </a:r>
            <a:endParaRPr lang="en-US" sz="2400" kern="1200" dirty="0">
              <a:solidFill>
                <a:schemeClr val="tx1"/>
              </a:solidFill>
              <a:latin typeface="+mn-lt"/>
              <a:ea typeface="+mn-ea"/>
              <a:cs typeface="+mn-cs"/>
            </a:endParaRPr>
          </a:p>
        </p:txBody>
      </p:sp>
      <p:pic>
        <p:nvPicPr>
          <p:cNvPr id="5" name="Picture 4" descr="A picture containing black, white, piece, photo&#10;&#10;Description automatically generated">
            <a:extLst>
              <a:ext uri="{FF2B5EF4-FFF2-40B4-BE49-F238E27FC236}">
                <a16:creationId xmlns:a16="http://schemas.microsoft.com/office/drawing/2014/main" id="{E5B3323F-77F1-461D-AE39-3F7D7E0EEB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22669" y="365760"/>
            <a:ext cx="5594465" cy="5594465"/>
          </a:xfrm>
          <a:prstGeom prst="rect">
            <a:avLst/>
          </a:prstGeom>
        </p:spPr>
      </p:pic>
      <p:sp>
        <p:nvSpPr>
          <p:cNvPr id="37" name="Rectangle 36">
            <a:extLst>
              <a:ext uri="{FF2B5EF4-FFF2-40B4-BE49-F238E27FC236}">
                <a16:creationId xmlns:a16="http://schemas.microsoft.com/office/drawing/2014/main" id="{E3E51905-F374-4E1A-97CF-B741584B74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01384"/>
            <a:ext cx="5852160" cy="3566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76091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FD703EA-5AA1-40A4-A878-D93D4F3D50AD}"/>
              </a:ext>
            </a:extLst>
          </p:cNvPr>
          <p:cNvSpPr txBox="1">
            <a:spLocks/>
          </p:cNvSpPr>
          <p:nvPr/>
        </p:nvSpPr>
        <p:spPr>
          <a:xfrm>
            <a:off x="588263" y="457200"/>
            <a:ext cx="11018520" cy="553998"/>
          </a:xfrm>
          <a:prstGeom prst="rect">
            <a:avLst/>
          </a:prstGeom>
        </p:spPr>
        <p:txBody>
          <a:bodyPr/>
          <a:lst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dirty="0"/>
              <a:t>Different Hack Packs</a:t>
            </a:r>
          </a:p>
        </p:txBody>
      </p:sp>
      <p:pic>
        <p:nvPicPr>
          <p:cNvPr id="13" name="Picture 12" descr="A close up of a logo&#10;&#10;Description automatically generated">
            <a:extLst>
              <a:ext uri="{FF2B5EF4-FFF2-40B4-BE49-F238E27FC236}">
                <a16:creationId xmlns:a16="http://schemas.microsoft.com/office/drawing/2014/main" id="{9512F81B-328A-420A-B7D9-B50B7F7C93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9388" y="194559"/>
            <a:ext cx="1209130" cy="1079279"/>
          </a:xfrm>
          <a:prstGeom prst="rect">
            <a:avLst/>
          </a:prstGeom>
        </p:spPr>
      </p:pic>
      <p:sp>
        <p:nvSpPr>
          <p:cNvPr id="3" name="Rectangle 2">
            <a:hlinkClick r:id="rId5"/>
            <a:extLst>
              <a:ext uri="{FF2B5EF4-FFF2-40B4-BE49-F238E27FC236}">
                <a16:creationId xmlns:a16="http://schemas.microsoft.com/office/drawing/2014/main" id="{6EA36121-F1E7-49E8-9822-D935F8E9A2B5}"/>
              </a:ext>
            </a:extLst>
          </p:cNvPr>
          <p:cNvSpPr/>
          <p:nvPr/>
        </p:nvSpPr>
        <p:spPr bwMode="auto">
          <a:xfrm>
            <a:off x="719952" y="4251370"/>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UFO Sightings</a:t>
            </a:r>
          </a:p>
        </p:txBody>
      </p:sp>
      <p:sp>
        <p:nvSpPr>
          <p:cNvPr id="4" name="Rectangle 3">
            <a:extLst>
              <a:ext uri="{FF2B5EF4-FFF2-40B4-BE49-F238E27FC236}">
                <a16:creationId xmlns:a16="http://schemas.microsoft.com/office/drawing/2014/main" id="{75202D78-09F2-40F3-BD7A-5DEBC0619FB6}"/>
              </a:ext>
            </a:extLst>
          </p:cNvPr>
          <p:cNvSpPr/>
          <p:nvPr/>
        </p:nvSpPr>
        <p:spPr bwMode="auto">
          <a:xfrm>
            <a:off x="5788069" y="1709574"/>
            <a:ext cx="2253006" cy="1998483"/>
          </a:xfrm>
          <a:prstGeom prst="rect">
            <a:avLst/>
          </a:prstGeom>
          <a:solidFill>
            <a:srgbClr val="00B4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Central Gov.</a:t>
            </a:r>
          </a:p>
        </p:txBody>
      </p:sp>
      <p:sp>
        <p:nvSpPr>
          <p:cNvPr id="7" name="Rectangle 6">
            <a:hlinkClick r:id="rId6"/>
            <a:extLst>
              <a:ext uri="{FF2B5EF4-FFF2-40B4-BE49-F238E27FC236}">
                <a16:creationId xmlns:a16="http://schemas.microsoft.com/office/drawing/2014/main" id="{84388755-149B-44F0-978B-FB8B8A5B45F5}"/>
              </a:ext>
            </a:extLst>
          </p:cNvPr>
          <p:cNvSpPr/>
          <p:nvPr/>
        </p:nvSpPr>
        <p:spPr bwMode="auto">
          <a:xfrm>
            <a:off x="3254249" y="1709575"/>
            <a:ext cx="2253006" cy="1998483"/>
          </a:xfrm>
          <a:prstGeom prst="rect">
            <a:avLst/>
          </a:prstGeom>
          <a:solidFill>
            <a:srgbClr val="00B4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Prospects</a:t>
            </a:r>
          </a:p>
        </p:txBody>
      </p:sp>
      <p:sp>
        <p:nvSpPr>
          <p:cNvPr id="2" name="Rectangle 1">
            <a:extLst>
              <a:ext uri="{FF2B5EF4-FFF2-40B4-BE49-F238E27FC236}">
                <a16:creationId xmlns:a16="http://schemas.microsoft.com/office/drawing/2014/main" id="{EB63712E-6A10-4A45-A4F6-9271006AB602}"/>
              </a:ext>
            </a:extLst>
          </p:cNvPr>
          <p:cNvSpPr/>
          <p:nvPr/>
        </p:nvSpPr>
        <p:spPr bwMode="auto">
          <a:xfrm>
            <a:off x="3259661" y="4251370"/>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Financial</a:t>
            </a:r>
          </a:p>
        </p:txBody>
      </p:sp>
      <p:sp>
        <p:nvSpPr>
          <p:cNvPr id="6" name="Rectangle 5">
            <a:extLst>
              <a:ext uri="{FF2B5EF4-FFF2-40B4-BE49-F238E27FC236}">
                <a16:creationId xmlns:a16="http://schemas.microsoft.com/office/drawing/2014/main" id="{199DF29A-8A5B-453C-B7B2-311D4A3CF10B}"/>
              </a:ext>
            </a:extLst>
          </p:cNvPr>
          <p:cNvSpPr/>
          <p:nvPr/>
        </p:nvSpPr>
        <p:spPr bwMode="auto">
          <a:xfrm>
            <a:off x="5809327" y="4251370"/>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Sleigh Sightings</a:t>
            </a:r>
          </a:p>
        </p:txBody>
      </p:sp>
      <p:sp>
        <p:nvSpPr>
          <p:cNvPr id="5" name="Rectangle 4">
            <a:extLst>
              <a:ext uri="{FF2B5EF4-FFF2-40B4-BE49-F238E27FC236}">
                <a16:creationId xmlns:a16="http://schemas.microsoft.com/office/drawing/2014/main" id="{B527EE6D-C5FF-45B1-AE34-6516F3715E10}"/>
              </a:ext>
            </a:extLst>
          </p:cNvPr>
          <p:cNvSpPr/>
          <p:nvPr/>
        </p:nvSpPr>
        <p:spPr bwMode="auto">
          <a:xfrm>
            <a:off x="715114" y="1709573"/>
            <a:ext cx="2253006" cy="1998483"/>
          </a:xfrm>
          <a:prstGeom prst="rect">
            <a:avLst/>
          </a:prstGeom>
          <a:solidFill>
            <a:srgbClr val="F868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a:gradFill>
                  <a:gsLst>
                    <a:gs pos="0">
                      <a:srgbClr val="FFFFFF"/>
                    </a:gs>
                    <a:gs pos="100000">
                      <a:srgbClr val="FFFFFF"/>
                    </a:gs>
                  </a:gsLst>
                  <a:lin ang="5400000" scaled="0"/>
                </a:gradFill>
                <a:ea typeface="Segoe UI" pitchFamily="34" charset="0"/>
                <a:cs typeface="Segoe UI" pitchFamily="34" charset="0"/>
              </a:rPr>
              <a:t>Healthcare</a:t>
            </a:r>
            <a:endParaRPr lang="en-GB" sz="20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98FCC13F-6BCB-4667-BBBB-CD113C734243}"/>
              </a:ext>
            </a:extLst>
          </p:cNvPr>
          <p:cNvSpPr/>
          <p:nvPr/>
        </p:nvSpPr>
        <p:spPr bwMode="auto">
          <a:xfrm>
            <a:off x="8306190" y="1722143"/>
            <a:ext cx="2253006" cy="199848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Local Gov.</a:t>
            </a:r>
          </a:p>
        </p:txBody>
      </p:sp>
      <p:sp>
        <p:nvSpPr>
          <p:cNvPr id="29" name="Rectangle 28">
            <a:extLst>
              <a:ext uri="{FF2B5EF4-FFF2-40B4-BE49-F238E27FC236}">
                <a16:creationId xmlns:a16="http://schemas.microsoft.com/office/drawing/2014/main" id="{EE7C6D21-BA52-48E4-A8EF-96EBF8E90639}"/>
              </a:ext>
            </a:extLst>
          </p:cNvPr>
          <p:cNvSpPr/>
          <p:nvPr/>
        </p:nvSpPr>
        <p:spPr bwMode="auto">
          <a:xfrm>
            <a:off x="8358993" y="4251369"/>
            <a:ext cx="2253006" cy="1998483"/>
          </a:xfrm>
          <a:prstGeom prst="rect">
            <a:avLst/>
          </a:prstGeom>
          <a:solidFill>
            <a:srgbClr val="FFC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r>
              <a:rPr lang="en-GB" sz="2000" dirty="0">
                <a:gradFill>
                  <a:gsLst>
                    <a:gs pos="0">
                      <a:srgbClr val="FFFFFF"/>
                    </a:gs>
                    <a:gs pos="100000">
                      <a:srgbClr val="FFFFFF"/>
                    </a:gs>
                  </a:gsLst>
                  <a:lin ang="5400000" scaled="0"/>
                </a:gradFill>
                <a:ea typeface="Segoe UI" pitchFamily="34" charset="0"/>
                <a:cs typeface="Segoe UI" pitchFamily="34" charset="0"/>
              </a:rPr>
              <a:t>Recruitment</a:t>
            </a:r>
          </a:p>
        </p:txBody>
      </p:sp>
      <p:pic>
        <p:nvPicPr>
          <p:cNvPr id="30" name="Storm_exclamation">
            <a:hlinkClick r:id="" action="ppaction://media"/>
            <a:extLst>
              <a:ext uri="{FF2B5EF4-FFF2-40B4-BE49-F238E27FC236}">
                <a16:creationId xmlns:a16="http://schemas.microsoft.com/office/drawing/2014/main" id="{FBE3776F-7FB1-41B1-ADBD-339CD4A9E9ED}"/>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606783" y="6286926"/>
            <a:ext cx="487363" cy="487363"/>
          </a:xfrm>
          <a:prstGeom prst="rect">
            <a:avLst/>
          </a:prstGeom>
        </p:spPr>
      </p:pic>
      <p:pic>
        <p:nvPicPr>
          <p:cNvPr id="24" name="Picture 23" descr="A picture containing object, clock&#10;&#10;Description automatically generated">
            <a:extLst>
              <a:ext uri="{FF2B5EF4-FFF2-40B4-BE49-F238E27FC236}">
                <a16:creationId xmlns:a16="http://schemas.microsoft.com/office/drawing/2014/main" id="{8D1741FC-F49E-4B5B-8241-2CCE8864FFE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68023" y="4390956"/>
            <a:ext cx="1425457" cy="1425457"/>
          </a:xfrm>
          <a:prstGeom prst="rect">
            <a:avLst/>
          </a:prstGeom>
        </p:spPr>
      </p:pic>
      <p:pic>
        <p:nvPicPr>
          <p:cNvPr id="31" name="Picture 30" descr="A picture containing graphics, room, drawing&#10;&#10;Description automatically generated">
            <a:extLst>
              <a:ext uri="{FF2B5EF4-FFF2-40B4-BE49-F238E27FC236}">
                <a16:creationId xmlns:a16="http://schemas.microsoft.com/office/drawing/2014/main" id="{39E57F7B-2294-4855-9BD7-EED68B4BAD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19964" y="1858203"/>
            <a:ext cx="1425457" cy="1425457"/>
          </a:xfrm>
          <a:prstGeom prst="rect">
            <a:avLst/>
          </a:prstGeom>
        </p:spPr>
      </p:pic>
      <p:pic>
        <p:nvPicPr>
          <p:cNvPr id="35" name="Picture 34" descr="A picture containing clock, room&#10;&#10;Description automatically generated">
            <a:extLst>
              <a:ext uri="{FF2B5EF4-FFF2-40B4-BE49-F238E27FC236}">
                <a16:creationId xmlns:a16="http://schemas.microsoft.com/office/drawing/2014/main" id="{511C17EB-1019-4DEF-A7A1-72FE1A27937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72345" y="1849891"/>
            <a:ext cx="1442080" cy="1442080"/>
          </a:xfrm>
          <a:prstGeom prst="rect">
            <a:avLst/>
          </a:prstGeom>
        </p:spPr>
      </p:pic>
      <p:pic>
        <p:nvPicPr>
          <p:cNvPr id="20" name="Picture 19" descr="A picture containing graphics, drawing, room&#10;&#10;Description automatically generated">
            <a:extLst>
              <a:ext uri="{FF2B5EF4-FFF2-40B4-BE49-F238E27FC236}">
                <a16:creationId xmlns:a16="http://schemas.microsoft.com/office/drawing/2014/main" id="{E9A48379-3B5B-44B8-A0EF-E6D2538F07A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21782" y="1849891"/>
            <a:ext cx="1428096" cy="1428096"/>
          </a:xfrm>
          <a:prstGeom prst="rect">
            <a:avLst/>
          </a:prstGeom>
        </p:spPr>
      </p:pic>
      <p:pic>
        <p:nvPicPr>
          <p:cNvPr id="26" name="Picture 25" descr="A picture containing clock&#10;&#10;Description automatically generated">
            <a:extLst>
              <a:ext uri="{FF2B5EF4-FFF2-40B4-BE49-F238E27FC236}">
                <a16:creationId xmlns:a16="http://schemas.microsoft.com/office/drawing/2014/main" id="{A9CEEF10-FA93-4CF2-BD2C-FCBD5F65BFD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39572" y="4340365"/>
            <a:ext cx="1425457" cy="1425457"/>
          </a:xfrm>
          <a:prstGeom prst="rect">
            <a:avLst/>
          </a:prstGeom>
        </p:spPr>
      </p:pic>
      <p:pic>
        <p:nvPicPr>
          <p:cNvPr id="34" name="Picture 33" descr="A close up of a logo&#10;&#10;Description automatically generated">
            <a:extLst>
              <a:ext uri="{FF2B5EF4-FFF2-40B4-BE49-F238E27FC236}">
                <a16:creationId xmlns:a16="http://schemas.microsoft.com/office/drawing/2014/main" id="{C5D0A659-63EB-4636-9C36-BAA1479822F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12629" y="4341531"/>
            <a:ext cx="1446402" cy="1446402"/>
          </a:xfrm>
          <a:prstGeom prst="rect">
            <a:avLst/>
          </a:prstGeom>
        </p:spPr>
      </p:pic>
      <p:pic>
        <p:nvPicPr>
          <p:cNvPr id="37" name="Picture 36" descr="A picture containing room&#10;&#10;Description automatically generated">
            <a:extLst>
              <a:ext uri="{FF2B5EF4-FFF2-40B4-BE49-F238E27FC236}">
                <a16:creationId xmlns:a16="http://schemas.microsoft.com/office/drawing/2014/main" id="{BCC0A74B-6A90-46BE-8E18-3A13E6BBBA7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19963" y="4390955"/>
            <a:ext cx="1425458" cy="1425458"/>
          </a:xfrm>
          <a:prstGeom prst="rect">
            <a:avLst/>
          </a:prstGeom>
        </p:spPr>
      </p:pic>
      <p:sp>
        <p:nvSpPr>
          <p:cNvPr id="28" name="Lightning Bolt 27">
            <a:extLst>
              <a:ext uri="{FF2B5EF4-FFF2-40B4-BE49-F238E27FC236}">
                <a16:creationId xmlns:a16="http://schemas.microsoft.com/office/drawing/2014/main" id="{07B1079B-B5B8-4064-8331-8B7D3763C869}"/>
              </a:ext>
            </a:extLst>
          </p:cNvPr>
          <p:cNvSpPr/>
          <p:nvPr/>
        </p:nvSpPr>
        <p:spPr bwMode="auto">
          <a:xfrm rot="1080859">
            <a:off x="3668923" y="2041719"/>
            <a:ext cx="1397329" cy="988861"/>
          </a:xfrm>
          <a:prstGeom prst="lightningBol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A picture containing drawing, room&#10;&#10;Description automatically generated">
            <a:extLst>
              <a:ext uri="{FF2B5EF4-FFF2-40B4-BE49-F238E27FC236}">
                <a16:creationId xmlns:a16="http://schemas.microsoft.com/office/drawing/2014/main" id="{FB721710-8445-46C4-AE1A-B4E311B5B7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42421" y="1805819"/>
            <a:ext cx="1460660" cy="1460660"/>
          </a:xfrm>
          <a:prstGeom prst="rect">
            <a:avLst/>
          </a:prstGeom>
        </p:spPr>
      </p:pic>
    </p:spTree>
    <p:extLst>
      <p:ext uri="{BB962C8B-B14F-4D97-AF65-F5344CB8AC3E}">
        <p14:creationId xmlns:p14="http://schemas.microsoft.com/office/powerpoint/2010/main" val="3478093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800"/>
                                        <p:tgtEl>
                                          <p:spTgt spid="28"/>
                                        </p:tgtEl>
                                      </p:cBhvr>
                                    </p:animEffect>
                                  </p:childTnLst>
                                </p:cTn>
                              </p:par>
                              <p:par>
                                <p:cTn id="8" presetID="1" presetClass="mediacall" presetSubtype="0" fill="hold" nodeType="withEffect">
                                  <p:stCondLst>
                                    <p:cond delay="0"/>
                                  </p:stCondLst>
                                  <p:childTnLst>
                                    <p:cmd type="call" cmd="playFrom(0.0)">
                                      <p:cBhvr>
                                        <p:cTn id="9" dur="5352" fill="hold"/>
                                        <p:tgtEl>
                                          <p:spTgt spid="3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10" fill="hold" display="0">
                  <p:stCondLst>
                    <p:cond delay="indefinite"/>
                  </p:stCondLst>
                  <p:endCondLst>
                    <p:cond evt="onStopAudio" delay="0">
                      <p:tgtEl>
                        <p:sldTgt/>
                      </p:tgtEl>
                    </p:cond>
                  </p:endCondLst>
                </p:cTn>
                <p:tgtEl>
                  <p:spTgt spid="30"/>
                </p:tgtEl>
              </p:cMediaNode>
            </p:audio>
          </p:childTnLst>
        </p:cTn>
      </p:par>
    </p:tnLst>
    <p:bldLst>
      <p:bldP spid="28"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640079" y="2053641"/>
            <a:ext cx="3669161" cy="2760098"/>
          </a:xfrm>
        </p:spPr>
        <p:txBody>
          <a:bodyPr vert="horz" lIns="91440" tIns="45720" rIns="91440" bIns="45720" rtlCol="0" anchor="ctr">
            <a:normAutofit/>
          </a:bodyPr>
          <a:lstStyle/>
          <a:p>
            <a:r>
              <a:rPr lang="en-US" dirty="0">
                <a:solidFill>
                  <a:srgbClr val="FFFFFF"/>
                </a:solidFill>
                <a:latin typeface="+mj-lt"/>
              </a:rPr>
              <a:t>Demo</a:t>
            </a:r>
            <a:r>
              <a:rPr lang="en-US" kern="1200" dirty="0">
                <a:solidFill>
                  <a:srgbClr val="FFFFFF"/>
                </a:solidFill>
                <a:latin typeface="+mj-lt"/>
                <a:ea typeface="+mj-ea"/>
                <a:cs typeface="+mj-cs"/>
              </a:rPr>
              <a:t> Business Case:</a:t>
            </a:r>
          </a:p>
        </p:txBody>
      </p:sp>
      <p:sp>
        <p:nvSpPr>
          <p:cNvPr id="4" name="Title 1"/>
          <p:cNvSpPr txBox="1">
            <a:spLocks/>
          </p:cNvSpPr>
          <p:nvPr/>
        </p:nvSpPr>
        <p:spPr>
          <a:xfrm>
            <a:off x="5335571" y="655983"/>
            <a:ext cx="6315959" cy="5714218"/>
          </a:xfrm>
          <a:prstGeom prst="rect">
            <a:avLst/>
          </a:prstGeom>
        </p:spPr>
        <p:txBody>
          <a:bodyPr vert="horz" lIns="91440" tIns="45720" rIns="91440" bIns="45720" rtlCol="0" anchor="ctr">
            <a:normAutofit fontScale="55000" lnSpcReduction="20000"/>
          </a:bodyPr>
          <a:lstStyle>
            <a:lvl1pPr algn="l" defTabSz="914400" rtl="0" eaLnBrk="1" latinLnBrk="0" hangingPunct="1">
              <a:lnSpc>
                <a:spcPct val="90000"/>
              </a:lnSpc>
              <a:spcBef>
                <a:spcPct val="0"/>
              </a:spcBef>
              <a:buNone/>
              <a:defRPr sz="4400" kern="1200">
                <a:solidFill>
                  <a:schemeClr val="bg1"/>
                </a:solidFill>
                <a:latin typeface="Raleway" panose="020B0003030101060003" pitchFamily="34" charset="0"/>
                <a:ea typeface="+mj-ea"/>
                <a:cs typeface="+mj-cs"/>
              </a:defRPr>
            </a:lvl1p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GB" sz="4400" b="0" i="0" u="none" strike="noStrike" kern="1200" cap="none" spc="0" normalizeH="0" baseline="0" noProof="0" dirty="0">
                <a:ln>
                  <a:noFill/>
                </a:ln>
                <a:solidFill>
                  <a:prstClr val="black"/>
                </a:solidFill>
                <a:effectLst/>
                <a:uLnTx/>
                <a:uFillTx/>
                <a:latin typeface="Calibri"/>
                <a:ea typeface="+mj-ea"/>
                <a:cs typeface="+mj-cs"/>
              </a:rPr>
              <a:t>An organisations sales representatives spend many hours at trade shows and events talking to various prospects. They collect multiple business cards and </a:t>
            </a:r>
            <a:r>
              <a:rPr kumimoji="0" lang="en-GB" sz="4400" b="0" i="0" u="none" strike="noStrike" kern="1200" cap="none" spc="0" normalizeH="0" baseline="0" noProof="0" dirty="0" err="1">
                <a:ln>
                  <a:noFill/>
                </a:ln>
                <a:solidFill>
                  <a:prstClr val="black"/>
                </a:solidFill>
                <a:effectLst/>
                <a:uLnTx/>
                <a:uFillTx/>
                <a:latin typeface="Calibri"/>
                <a:ea typeface="+mj-ea"/>
                <a:cs typeface="+mj-cs"/>
              </a:rPr>
              <a:t>Linkedin</a:t>
            </a:r>
            <a:r>
              <a:rPr kumimoji="0" lang="en-GB" sz="4400" b="0" i="0" u="none" strike="noStrike" kern="1200" cap="none" spc="0" normalizeH="0" baseline="0" noProof="0" dirty="0">
                <a:ln>
                  <a:noFill/>
                </a:ln>
                <a:solidFill>
                  <a:prstClr val="black"/>
                </a:solidFill>
                <a:effectLst/>
                <a:uLnTx/>
                <a:uFillTx/>
                <a:latin typeface="Calibri"/>
                <a:ea typeface="+mj-ea"/>
                <a:cs typeface="+mj-cs"/>
              </a:rPr>
              <a:t> connections but have no simple mechanism to capture the conversation had with prospect as well as gain several other important details they need in order to progress the conversations. This means that often these interactions do not have any follow-up and therefore potential sales are lost and these interactions are wasted. </a:t>
            </a:r>
          </a:p>
          <a:p>
            <a:pPr marL="0" marR="0" lvl="0" indent="0" algn="ctr" defTabSz="914400" rtl="0" eaLnBrk="1" fontAlgn="auto" latinLnBrk="0" hangingPunct="1">
              <a:lnSpc>
                <a:spcPct val="90000"/>
              </a:lnSpc>
              <a:spcBef>
                <a:spcPct val="0"/>
              </a:spcBef>
              <a:spcAft>
                <a:spcPts val="60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a:ea typeface="+mj-ea"/>
              <a:cs typeface="+mj-cs"/>
            </a:endParaRP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GB" sz="4400" b="0" i="0" u="none" strike="noStrike" kern="1200" cap="none" spc="0" normalizeH="0" baseline="0" noProof="0" dirty="0">
                <a:ln>
                  <a:noFill/>
                </a:ln>
                <a:solidFill>
                  <a:prstClr val="black"/>
                </a:solidFill>
                <a:effectLst/>
                <a:uLnTx/>
                <a:uFillTx/>
                <a:latin typeface="Calibri"/>
                <a:ea typeface="+mj-ea"/>
                <a:cs typeface="+mj-cs"/>
              </a:rPr>
              <a:t>Typically, the Sales people will capture their prospects into several excel sheets, which are then emailed through to their regional office for consolidation and mid office follow up. There is literally now security or process associated to the way these prospects are dealt with.</a:t>
            </a:r>
            <a:endParaRPr kumimoji="0" lang="en-US" sz="2400" b="0" i="0" u="none" strike="noStrike" kern="1200" cap="none" spc="0" normalizeH="0" baseline="0" noProof="0" dirty="0">
              <a:ln>
                <a:noFill/>
              </a:ln>
              <a:solidFill>
                <a:prstClr val="black"/>
              </a:solidFill>
              <a:effectLst/>
              <a:uLnTx/>
              <a:uFillTx/>
              <a:latin typeface="Calibri"/>
              <a:ea typeface="+mj-ea"/>
              <a:cs typeface="+mj-cs"/>
            </a:endParaRPr>
          </a:p>
        </p:txBody>
      </p:sp>
    </p:spTree>
    <p:custDataLst>
      <p:tags r:id="rId1"/>
    </p:custDataLst>
    <p:extLst>
      <p:ext uri="{BB962C8B-B14F-4D97-AF65-F5344CB8AC3E}">
        <p14:creationId xmlns:p14="http://schemas.microsoft.com/office/powerpoint/2010/main" val="28795464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2150745" y="1559335"/>
            <a:ext cx="8257781" cy="3034501"/>
            <a:chOff x="2010725" y="1327777"/>
            <a:chExt cx="8257781" cy="3034501"/>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 Apps</a:t>
              </a:r>
            </a:p>
          </p:txBody>
        </p:sp>
      </p:grpSp>
      <p:grpSp>
        <p:nvGrpSpPr>
          <p:cNvPr id="13" name="Group 12">
            <a:extLst>
              <a:ext uri="{FF2B5EF4-FFF2-40B4-BE49-F238E27FC236}">
                <a16:creationId xmlns:a16="http://schemas.microsoft.com/office/drawing/2014/main" id="{E951BCC0-D03E-4AF4-8195-9CDE9DA13D94}"/>
              </a:ext>
            </a:extLst>
          </p:cNvPr>
          <p:cNvGrpSpPr/>
          <p:nvPr/>
        </p:nvGrpSpPr>
        <p:grpSpPr>
          <a:xfrm>
            <a:off x="2453628" y="2880734"/>
            <a:ext cx="3664963" cy="892298"/>
            <a:chOff x="2313608" y="2649176"/>
            <a:chExt cx="3664963" cy="892298"/>
          </a:xfrm>
        </p:grpSpPr>
        <p:sp>
          <p:nvSpPr>
            <p:cNvPr id="14" name="Rectangle: Rounded Corners 13">
              <a:extLst>
                <a:ext uri="{FF2B5EF4-FFF2-40B4-BE49-F238E27FC236}">
                  <a16:creationId xmlns:a16="http://schemas.microsoft.com/office/drawing/2014/main" id="{47AE2417-DEF1-4BCE-AE62-943B84ADFCD8}"/>
                </a:ext>
              </a:extLst>
            </p:cNvPr>
            <p:cNvSpPr/>
            <p:nvPr/>
          </p:nvSpPr>
          <p:spPr>
            <a:xfrm>
              <a:off x="2313608" y="2649176"/>
              <a:ext cx="3664963" cy="89229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F0371148-9229-4AE6-AC63-37D9FF54348C}"/>
                </a:ext>
              </a:extLst>
            </p:cNvPr>
            <p:cNvSpPr/>
            <p:nvPr/>
          </p:nvSpPr>
          <p:spPr>
            <a:xfrm>
              <a:off x="3220069" y="2814688"/>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anagement Model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2150745" y="567206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Management Report</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02AC81B3-CA27-4E55-83BF-BB1BB35A7421}"/>
              </a:ext>
            </a:extLst>
          </p:cNvPr>
          <p:cNvGrpSpPr/>
          <p:nvPr/>
        </p:nvGrpSpPr>
        <p:grpSpPr>
          <a:xfrm>
            <a:off x="6421474" y="1866482"/>
            <a:ext cx="3664963" cy="1908479"/>
            <a:chOff x="6319865" y="1520192"/>
            <a:chExt cx="3664963" cy="1908479"/>
          </a:xfrm>
        </p:grpSpPr>
        <p:sp>
          <p:nvSpPr>
            <p:cNvPr id="35" name="Rectangle: Rounded Corners 8">
              <a:extLst>
                <a:ext uri="{FF2B5EF4-FFF2-40B4-BE49-F238E27FC236}">
                  <a16:creationId xmlns:a16="http://schemas.microsoft.com/office/drawing/2014/main" id="{F21AC980-A75F-4A14-B555-210200351C73}"/>
                </a:ext>
              </a:extLst>
            </p:cNvPr>
            <p:cNvSpPr/>
            <p:nvPr/>
          </p:nvSpPr>
          <p:spPr>
            <a:xfrm>
              <a:off x="6319865" y="1520192"/>
              <a:ext cx="3664963" cy="1908479"/>
            </a:xfrm>
            <a:prstGeom prst="roundRect">
              <a:avLst>
                <a:gd name="adj" fmla="val 8999"/>
              </a:avLst>
            </a:prstGeom>
            <a:blipFill>
              <a:blip r:embed="rId5"/>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18">
              <a:extLst>
                <a:ext uri="{FF2B5EF4-FFF2-40B4-BE49-F238E27FC236}">
                  <a16:creationId xmlns:a16="http://schemas.microsoft.com/office/drawing/2014/main" id="{54262644-6D3A-4138-807B-CAB21031EA27}"/>
                </a:ext>
              </a:extLst>
            </p:cNvPr>
            <p:cNvSpPr/>
            <p:nvPr/>
          </p:nvSpPr>
          <p:spPr>
            <a:xfrm>
              <a:off x="7276527" y="2153685"/>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Record Management Canvas App</a:t>
              </a:r>
            </a:p>
          </p:txBody>
        </p:sp>
      </p:grpSp>
      <p:grpSp>
        <p:nvGrpSpPr>
          <p:cNvPr id="43" name="Group 42">
            <a:extLst>
              <a:ext uri="{FF2B5EF4-FFF2-40B4-BE49-F238E27FC236}">
                <a16:creationId xmlns:a16="http://schemas.microsoft.com/office/drawing/2014/main" id="{0C403346-FC2A-4F4B-A6DA-C0359C925F73}"/>
              </a:ext>
            </a:extLst>
          </p:cNvPr>
          <p:cNvGrpSpPr/>
          <p:nvPr/>
        </p:nvGrpSpPr>
        <p:grpSpPr>
          <a:xfrm>
            <a:off x="2150745" y="565562"/>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 User via Email</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140F4C77-D924-480E-B2A6-2D48E0A20160}"/>
              </a:ext>
            </a:extLst>
          </p:cNvPr>
          <p:cNvGrpSpPr/>
          <p:nvPr/>
        </p:nvGrpSpPr>
        <p:grpSpPr>
          <a:xfrm>
            <a:off x="2471401" y="1886519"/>
            <a:ext cx="3645757" cy="892298"/>
            <a:chOff x="2471401" y="1886519"/>
            <a:chExt cx="3645757" cy="892298"/>
          </a:xfrm>
        </p:grpSpPr>
        <p:grpSp>
          <p:nvGrpSpPr>
            <p:cNvPr id="37" name="Group 36">
              <a:extLst>
                <a:ext uri="{FF2B5EF4-FFF2-40B4-BE49-F238E27FC236}">
                  <a16:creationId xmlns:a16="http://schemas.microsoft.com/office/drawing/2014/main" id="{BC246A2C-442C-4EB2-A001-F0D2D37644DC}"/>
                </a:ext>
              </a:extLst>
            </p:cNvPr>
            <p:cNvGrpSpPr/>
            <p:nvPr/>
          </p:nvGrpSpPr>
          <p:grpSpPr>
            <a:xfrm>
              <a:off x="2471401" y="1886519"/>
              <a:ext cx="3645757" cy="892298"/>
              <a:chOff x="2331381" y="1654961"/>
              <a:chExt cx="3645757" cy="892298"/>
            </a:xfrm>
          </p:grpSpPr>
          <p:sp>
            <p:nvSpPr>
              <p:cNvPr id="38" name="Rectangle: Rounded Corners 8">
                <a:extLst>
                  <a:ext uri="{FF2B5EF4-FFF2-40B4-BE49-F238E27FC236}">
                    <a16:creationId xmlns:a16="http://schemas.microsoft.com/office/drawing/2014/main" id="{3C17CC9B-8F1F-4A8D-A0B2-D2FAE80D6F4A}"/>
                  </a:ext>
                </a:extLst>
              </p:cNvPr>
              <p:cNvSpPr/>
              <p:nvPr/>
            </p:nvSpPr>
            <p:spPr>
              <a:xfrm>
                <a:off x="2331381" y="1654961"/>
                <a:ext cx="3645757" cy="892298"/>
              </a:xfrm>
              <a:prstGeom prst="roundRect">
                <a:avLst>
                  <a:gd name="adj" fmla="val 8999"/>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hevron 11">
                <a:extLst>
                  <a:ext uri="{FF2B5EF4-FFF2-40B4-BE49-F238E27FC236}">
                    <a16:creationId xmlns:a16="http://schemas.microsoft.com/office/drawing/2014/main" id="{6FF9ECA7-CEA1-4703-8826-0EE8029033F0}"/>
                  </a:ext>
                </a:extLst>
              </p:cNvPr>
              <p:cNvSpPr/>
              <p:nvPr/>
            </p:nvSpPr>
            <p:spPr>
              <a:xfrm>
                <a:off x="2488259" y="1725167"/>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Chevron 81">
                <a:extLst>
                  <a:ext uri="{FF2B5EF4-FFF2-40B4-BE49-F238E27FC236}">
                    <a16:creationId xmlns:a16="http://schemas.microsoft.com/office/drawing/2014/main" id="{7EEDD7B5-5BB1-4D63-BB7C-21E9301B68C1}"/>
                  </a:ext>
                </a:extLst>
              </p:cNvPr>
              <p:cNvSpPr/>
              <p:nvPr/>
            </p:nvSpPr>
            <p:spPr>
              <a:xfrm>
                <a:off x="3254406"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Chevron 82">
                <a:extLst>
                  <a:ext uri="{FF2B5EF4-FFF2-40B4-BE49-F238E27FC236}">
                    <a16:creationId xmlns:a16="http://schemas.microsoft.com/office/drawing/2014/main" id="{B1E70A49-FD21-4FE9-8C7D-E39517A60E9C}"/>
                  </a:ext>
                </a:extLst>
              </p:cNvPr>
              <p:cNvSpPr/>
              <p:nvPr/>
            </p:nvSpPr>
            <p:spPr>
              <a:xfrm>
                <a:off x="4020553" y="1717765"/>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Chevron 83">
                <a:extLst>
                  <a:ext uri="{FF2B5EF4-FFF2-40B4-BE49-F238E27FC236}">
                    <a16:creationId xmlns:a16="http://schemas.microsoft.com/office/drawing/2014/main" id="{C0332614-E4F4-437A-816B-7CACFB2F8BC8}"/>
                  </a:ext>
                </a:extLst>
              </p:cNvPr>
              <p:cNvSpPr/>
              <p:nvPr/>
            </p:nvSpPr>
            <p:spPr>
              <a:xfrm>
                <a:off x="4776868"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8" name="Rectangle: Rounded Corners 18">
              <a:extLst>
                <a:ext uri="{FF2B5EF4-FFF2-40B4-BE49-F238E27FC236}">
                  <a16:creationId xmlns:a16="http://schemas.microsoft.com/office/drawing/2014/main" id="{93A844A9-9E7B-471E-9AFD-EB13CE3F3D66}"/>
                </a:ext>
              </a:extLst>
            </p:cNvPr>
            <p:cNvSpPr/>
            <p:nvPr/>
          </p:nvSpPr>
          <p:spPr>
            <a:xfrm>
              <a:off x="2628278" y="2073854"/>
              <a:ext cx="3376513" cy="576256"/>
            </a:xfrm>
            <a:prstGeom prst="roundRect">
              <a:avLst/>
            </a:prstGeom>
            <a:solidFill>
              <a:srgbClr val="006EFF"/>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Management</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 Process</a:t>
              </a:r>
            </a:p>
          </p:txBody>
        </p:sp>
      </p:grpSp>
      <p:grpSp>
        <p:nvGrpSpPr>
          <p:cNvPr id="2" name="Group 1">
            <a:extLst>
              <a:ext uri="{FF2B5EF4-FFF2-40B4-BE49-F238E27FC236}">
                <a16:creationId xmlns:a16="http://schemas.microsoft.com/office/drawing/2014/main" id="{3A3C4BEB-58C7-4025-BD62-02ACA60F9F40}"/>
              </a:ext>
            </a:extLst>
          </p:cNvPr>
          <p:cNvGrpSpPr/>
          <p:nvPr/>
        </p:nvGrpSpPr>
        <p:grpSpPr>
          <a:xfrm>
            <a:off x="2150747" y="473091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fontScale="70000" lnSpcReduction="20000"/>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Common Data</a:t>
              </a:r>
              <a:b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Service for Apps </a:t>
              </a: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3163486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75C40-8743-49A6-8C6C-C2D52CDB3479}"/>
              </a:ext>
            </a:extLst>
          </p:cNvPr>
          <p:cNvSpPr>
            <a:spLocks noGrp="1"/>
          </p:cNvSpPr>
          <p:nvPr>
            <p:ph type="title"/>
          </p:nvPr>
        </p:nvSpPr>
        <p:spPr/>
        <p:txBody>
          <a:bodyPr/>
          <a:lstStyle/>
          <a:p>
            <a:r>
              <a:rPr lang="en-GB" dirty="0"/>
              <a:t>Use Cases</a:t>
            </a:r>
          </a:p>
        </p:txBody>
      </p:sp>
      <p:sp>
        <p:nvSpPr>
          <p:cNvPr id="5" name="Text Placeholder 4">
            <a:extLst>
              <a:ext uri="{FF2B5EF4-FFF2-40B4-BE49-F238E27FC236}">
                <a16:creationId xmlns:a16="http://schemas.microsoft.com/office/drawing/2014/main" id="{78DDDC0D-2E8D-4847-93AE-4E4E09ACDEAA}"/>
              </a:ext>
            </a:extLst>
          </p:cNvPr>
          <p:cNvSpPr>
            <a:spLocks noGrp="1"/>
          </p:cNvSpPr>
          <p:nvPr>
            <p:ph type="body" sz="quarter" idx="10"/>
          </p:nvPr>
        </p:nvSpPr>
        <p:spPr>
          <a:xfrm>
            <a:off x="588263" y="1211761"/>
            <a:ext cx="11410004" cy="4819781"/>
          </a:xfrm>
        </p:spPr>
        <p:txBody>
          <a:bodyPr/>
          <a:lstStyle/>
          <a:p>
            <a:pPr lvl="0"/>
            <a:r>
              <a:rPr lang="en-GB" sz="1800" dirty="0">
                <a:latin typeface="+mn-lt"/>
              </a:rPr>
              <a:t>We want to store our data in a SINGLE, RELIABLE, SECURE source that is accessible through multiple applications.</a:t>
            </a:r>
          </a:p>
          <a:p>
            <a:pPr lvl="0"/>
            <a:r>
              <a:rPr lang="en-GB" sz="1800" dirty="0">
                <a:latin typeface="+mn-lt"/>
              </a:rPr>
              <a:t>I want to be able to import data from my Excel data sources to the CDS.</a:t>
            </a:r>
          </a:p>
          <a:p>
            <a:pPr lvl="0"/>
            <a:r>
              <a:rPr lang="en-GB" sz="1800" dirty="0">
                <a:latin typeface="+mn-lt"/>
              </a:rPr>
              <a:t>We want to have a great internal mid office application that will enable us to view all of the data clearly as well as interact with the relevant records from a collaborative perspective.</a:t>
            </a:r>
          </a:p>
          <a:p>
            <a:pPr lvl="0"/>
            <a:r>
              <a:rPr lang="en-GB" sz="1800" dirty="0">
                <a:latin typeface="+mn-lt"/>
              </a:rPr>
              <a:t>We want to be able to manage the records through a “Management Process” to make sure that each record is logged correctly and accurately.</a:t>
            </a:r>
          </a:p>
          <a:p>
            <a:pPr lvl="0"/>
            <a:r>
              <a:rPr lang="en-GB" sz="1800" dirty="0">
                <a:latin typeface="+mn-lt"/>
              </a:rPr>
              <a:t>We want to Automatically send an email to a specific user to alert them of when a new record has been captured in your data store.</a:t>
            </a:r>
          </a:p>
          <a:p>
            <a:pPr lvl="0"/>
            <a:r>
              <a:rPr lang="en-GB" sz="1800" dirty="0">
                <a:latin typeface="+mn-lt"/>
              </a:rPr>
              <a:t>We want an interactive visual report of the information stored in the data store which will allow us the ability to better understand the types of records that have been captured and the aggregation of information relevant to the types of data captured. </a:t>
            </a:r>
          </a:p>
          <a:p>
            <a:pPr lvl="0"/>
            <a:r>
              <a:rPr lang="en-GB" sz="1800" dirty="0">
                <a:latin typeface="+mn-lt"/>
              </a:rPr>
              <a:t>We want to have the ability to leverage a mobile app to visit people and capture any data or images and store this in a central location, ready for processing by the internal mid office team.</a:t>
            </a:r>
          </a:p>
          <a:p>
            <a:pPr lvl="0"/>
            <a:r>
              <a:rPr lang="en-GB" sz="1800" dirty="0">
                <a:latin typeface="+mn-lt"/>
              </a:rPr>
              <a:t>We want to be able to use AI creatively within the solution to enable users the ability to clearly manage data and interact with information in a more manageable manner.</a:t>
            </a:r>
          </a:p>
        </p:txBody>
      </p:sp>
    </p:spTree>
    <p:extLst>
      <p:ext uri="{BB962C8B-B14F-4D97-AF65-F5344CB8AC3E}">
        <p14:creationId xmlns:p14="http://schemas.microsoft.com/office/powerpoint/2010/main" val="252674207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9B368-C92A-4699-B917-42B121E37A7D}"/>
              </a:ext>
            </a:extLst>
          </p:cNvPr>
          <p:cNvSpPr>
            <a:spLocks noGrp="1"/>
          </p:cNvSpPr>
          <p:nvPr>
            <p:ph type="title"/>
          </p:nvPr>
        </p:nvSpPr>
        <p:spPr/>
        <p:txBody>
          <a:bodyPr/>
          <a:lstStyle/>
          <a:p>
            <a:r>
              <a:rPr lang="en-GB" dirty="0"/>
              <a:t>Lab Structure (It’s the same for all data sets)</a:t>
            </a:r>
          </a:p>
        </p:txBody>
      </p:sp>
      <p:graphicFrame>
        <p:nvGraphicFramePr>
          <p:cNvPr id="4" name="Table 4">
            <a:extLst>
              <a:ext uri="{FF2B5EF4-FFF2-40B4-BE49-F238E27FC236}">
                <a16:creationId xmlns:a16="http://schemas.microsoft.com/office/drawing/2014/main" id="{AEC3D831-FE54-416A-B82D-632AE5877415}"/>
              </a:ext>
            </a:extLst>
          </p:cNvPr>
          <p:cNvGraphicFramePr>
            <a:graphicFrameLocks noGrp="1"/>
          </p:cNvGraphicFramePr>
          <p:nvPr>
            <p:extLst>
              <p:ext uri="{D42A27DB-BD31-4B8C-83A1-F6EECF244321}">
                <p14:modId xmlns:p14="http://schemas.microsoft.com/office/powerpoint/2010/main" val="1250982169"/>
              </p:ext>
            </p:extLst>
          </p:nvPr>
        </p:nvGraphicFramePr>
        <p:xfrm>
          <a:off x="588263" y="1558651"/>
          <a:ext cx="11018520" cy="4861560"/>
        </p:xfrm>
        <a:graphic>
          <a:graphicData uri="http://schemas.openxmlformats.org/drawingml/2006/table">
            <a:tbl>
              <a:tblPr firstRow="1" bandRow="1">
                <a:tableStyleId>{5C22544A-7EE6-4342-B048-85BDC9FD1C3A}</a:tableStyleId>
              </a:tblPr>
              <a:tblGrid>
                <a:gridCol w="4483358">
                  <a:extLst>
                    <a:ext uri="{9D8B030D-6E8A-4147-A177-3AD203B41FA5}">
                      <a16:colId xmlns:a16="http://schemas.microsoft.com/office/drawing/2014/main" val="2642334238"/>
                    </a:ext>
                  </a:extLst>
                </a:gridCol>
                <a:gridCol w="2862322">
                  <a:extLst>
                    <a:ext uri="{9D8B030D-6E8A-4147-A177-3AD203B41FA5}">
                      <a16:colId xmlns:a16="http://schemas.microsoft.com/office/drawing/2014/main" val="4288704092"/>
                    </a:ext>
                  </a:extLst>
                </a:gridCol>
                <a:gridCol w="3672840">
                  <a:extLst>
                    <a:ext uri="{9D8B030D-6E8A-4147-A177-3AD203B41FA5}">
                      <a16:colId xmlns:a16="http://schemas.microsoft.com/office/drawing/2014/main" val="3815330449"/>
                    </a:ext>
                  </a:extLst>
                </a:gridCol>
              </a:tblGrid>
              <a:tr h="370840">
                <a:tc>
                  <a:txBody>
                    <a:bodyPr/>
                    <a:lstStyle/>
                    <a:p>
                      <a:r>
                        <a:rPr lang="en-GB" dirty="0"/>
                        <a:t>Lab Title</a:t>
                      </a:r>
                    </a:p>
                  </a:txBody>
                  <a:tcPr/>
                </a:tc>
                <a:tc>
                  <a:txBody>
                    <a:bodyPr/>
                    <a:lstStyle/>
                    <a:p>
                      <a:r>
                        <a:rPr lang="en-GB" dirty="0"/>
                        <a:t>Technology</a:t>
                      </a:r>
                    </a:p>
                  </a:txBody>
                  <a:tcPr/>
                </a:tc>
                <a:tc>
                  <a:txBody>
                    <a:bodyPr/>
                    <a:lstStyle/>
                    <a:p>
                      <a:r>
                        <a:rPr lang="en-GB" dirty="0"/>
                        <a:t>Required / Dependencies</a:t>
                      </a:r>
                    </a:p>
                  </a:txBody>
                  <a:tcPr/>
                </a:tc>
                <a:extLst>
                  <a:ext uri="{0D108BD9-81ED-4DB2-BD59-A6C34878D82A}">
                    <a16:rowId xmlns:a16="http://schemas.microsoft.com/office/drawing/2014/main" val="1068673310"/>
                  </a:ext>
                </a:extLst>
              </a:tr>
              <a:tr h="370840">
                <a:tc>
                  <a:txBody>
                    <a:bodyPr/>
                    <a:lstStyle/>
                    <a:p>
                      <a:r>
                        <a:rPr lang="en-GB" b="1" dirty="0"/>
                        <a:t>Lab 1: </a:t>
                      </a:r>
                      <a:r>
                        <a:rPr lang="en-GB" dirty="0"/>
                        <a:t>Data &amp; Common Data Service</a:t>
                      </a:r>
                    </a:p>
                  </a:txBody>
                  <a:tcPr/>
                </a:tc>
                <a:tc>
                  <a:txBody>
                    <a:bodyPr/>
                    <a:lstStyle/>
                    <a:p>
                      <a:r>
                        <a:rPr lang="en-GB" dirty="0"/>
                        <a:t>CDS &amp; Power Query</a:t>
                      </a:r>
                    </a:p>
                  </a:txBody>
                  <a:tcPr/>
                </a:tc>
                <a:tc>
                  <a:txBody>
                    <a:bodyPr/>
                    <a:lstStyle/>
                    <a:p>
                      <a:r>
                        <a:rPr lang="en-GB" dirty="0"/>
                        <a:t>Mandatory</a:t>
                      </a:r>
                    </a:p>
                  </a:txBody>
                  <a:tcPr/>
                </a:tc>
                <a:extLst>
                  <a:ext uri="{0D108BD9-81ED-4DB2-BD59-A6C34878D82A}">
                    <a16:rowId xmlns:a16="http://schemas.microsoft.com/office/drawing/2014/main" val="1397756914"/>
                  </a:ext>
                </a:extLst>
              </a:tr>
              <a:tr h="370840">
                <a:tc>
                  <a:txBody>
                    <a:bodyPr/>
                    <a:lstStyle/>
                    <a:p>
                      <a:r>
                        <a:rPr lang="en-GB" b="1" dirty="0"/>
                        <a:t>Lab 2: </a:t>
                      </a:r>
                      <a:r>
                        <a:rPr lang="en-GB" dirty="0"/>
                        <a:t>Configuring the CDS : Forms, Views &amp; Charts</a:t>
                      </a:r>
                    </a:p>
                  </a:txBody>
                  <a:tcPr/>
                </a:tc>
                <a:tc>
                  <a:txBody>
                    <a:bodyPr/>
                    <a:lstStyle/>
                    <a:p>
                      <a:r>
                        <a:rPr lang="en-GB" dirty="0"/>
                        <a:t>CDS</a:t>
                      </a:r>
                    </a:p>
                  </a:txBody>
                  <a:tcPr/>
                </a:tc>
                <a:tc>
                  <a:txBody>
                    <a:bodyPr/>
                    <a:lstStyle/>
                    <a:p>
                      <a:r>
                        <a:rPr lang="en-GB" b="1" dirty="0"/>
                        <a:t>Lab 1</a:t>
                      </a:r>
                    </a:p>
                  </a:txBody>
                  <a:tcPr/>
                </a:tc>
                <a:extLst>
                  <a:ext uri="{0D108BD9-81ED-4DB2-BD59-A6C34878D82A}">
                    <a16:rowId xmlns:a16="http://schemas.microsoft.com/office/drawing/2014/main" val="543071719"/>
                  </a:ext>
                </a:extLst>
              </a:tr>
              <a:tr h="370840">
                <a:tc>
                  <a:txBody>
                    <a:bodyPr/>
                    <a:lstStyle/>
                    <a:p>
                      <a:r>
                        <a:rPr lang="en-GB" b="1" dirty="0"/>
                        <a:t>Lab 3: </a:t>
                      </a:r>
                      <a:r>
                        <a:rPr lang="en-GB" dirty="0"/>
                        <a:t>Configuring Business Process Flow, Model Driven Apps &amp; Dashboards</a:t>
                      </a:r>
                    </a:p>
                  </a:txBody>
                  <a:tcPr/>
                </a:tc>
                <a:tc>
                  <a:txBody>
                    <a:bodyPr/>
                    <a:lstStyle/>
                    <a:p>
                      <a:r>
                        <a:rPr lang="en-GB" dirty="0"/>
                        <a:t>Power Automate &amp; Power Apps( Model-driven) designer</a:t>
                      </a:r>
                    </a:p>
                  </a:txBody>
                  <a:tcPr/>
                </a:tc>
                <a:tc>
                  <a:txBody>
                    <a:bodyPr/>
                    <a:lstStyle/>
                    <a:p>
                      <a:r>
                        <a:rPr lang="en-GB" b="1" dirty="0"/>
                        <a:t>Lab 1 </a:t>
                      </a:r>
                      <a:r>
                        <a:rPr lang="en-GB" dirty="0"/>
                        <a:t>&amp; Small part of </a:t>
                      </a:r>
                      <a:r>
                        <a:rPr lang="en-GB" b="1" dirty="0"/>
                        <a:t>Lab 2 </a:t>
                      </a:r>
                      <a:r>
                        <a:rPr lang="en-GB" dirty="0"/>
                        <a:t>(Charts)</a:t>
                      </a:r>
                    </a:p>
                  </a:txBody>
                  <a:tcPr/>
                </a:tc>
                <a:extLst>
                  <a:ext uri="{0D108BD9-81ED-4DB2-BD59-A6C34878D82A}">
                    <a16:rowId xmlns:a16="http://schemas.microsoft.com/office/drawing/2014/main" val="1721670799"/>
                  </a:ext>
                </a:extLst>
              </a:tr>
              <a:tr h="370840">
                <a:tc>
                  <a:txBody>
                    <a:bodyPr/>
                    <a:lstStyle/>
                    <a:p>
                      <a:r>
                        <a:rPr lang="en-GB" b="1" dirty="0"/>
                        <a:t>Lab 4: </a:t>
                      </a:r>
                      <a:r>
                        <a:rPr lang="en-GB" dirty="0"/>
                        <a:t>Configuring Microsoft Flow</a:t>
                      </a:r>
                    </a:p>
                  </a:txBody>
                  <a:tcPr/>
                </a:tc>
                <a:tc>
                  <a:txBody>
                    <a:bodyPr/>
                    <a:lstStyle/>
                    <a:p>
                      <a:r>
                        <a:rPr lang="en-GB" dirty="0"/>
                        <a:t>Power Automate</a:t>
                      </a:r>
                    </a:p>
                  </a:txBody>
                  <a:tcPr/>
                </a:tc>
                <a:tc>
                  <a:txBody>
                    <a:bodyPr/>
                    <a:lstStyle/>
                    <a:p>
                      <a:r>
                        <a:rPr lang="en-GB" b="1" dirty="0"/>
                        <a:t>Lab 1</a:t>
                      </a:r>
                    </a:p>
                  </a:txBody>
                  <a:tcPr/>
                </a:tc>
                <a:extLst>
                  <a:ext uri="{0D108BD9-81ED-4DB2-BD59-A6C34878D82A}">
                    <a16:rowId xmlns:a16="http://schemas.microsoft.com/office/drawing/2014/main" val="4252522944"/>
                  </a:ext>
                </a:extLst>
              </a:tr>
              <a:tr h="370840">
                <a:tc>
                  <a:txBody>
                    <a:bodyPr/>
                    <a:lstStyle/>
                    <a:p>
                      <a:r>
                        <a:rPr lang="en-GB" b="1" dirty="0"/>
                        <a:t>Lab 5: </a:t>
                      </a:r>
                      <a:r>
                        <a:rPr lang="en-GB" dirty="0"/>
                        <a:t>Configuring Basic Power BI Dashboard</a:t>
                      </a:r>
                    </a:p>
                  </a:txBody>
                  <a:tcPr/>
                </a:tc>
                <a:tc>
                  <a:txBody>
                    <a:bodyPr/>
                    <a:lstStyle/>
                    <a:p>
                      <a:r>
                        <a:rPr lang="en-GB" dirty="0"/>
                        <a:t>Power BI</a:t>
                      </a:r>
                    </a:p>
                  </a:txBody>
                  <a:tcPr/>
                </a:tc>
                <a:tc>
                  <a:txBody>
                    <a:bodyPr/>
                    <a:lstStyle/>
                    <a:p>
                      <a:r>
                        <a:rPr lang="en-GB" b="1" dirty="0"/>
                        <a:t>Lab 1</a:t>
                      </a:r>
                    </a:p>
                  </a:txBody>
                  <a:tcPr/>
                </a:tc>
                <a:extLst>
                  <a:ext uri="{0D108BD9-81ED-4DB2-BD59-A6C34878D82A}">
                    <a16:rowId xmlns:a16="http://schemas.microsoft.com/office/drawing/2014/main" val="1180788268"/>
                  </a:ext>
                </a:extLst>
              </a:tr>
              <a:tr h="370840">
                <a:tc>
                  <a:txBody>
                    <a:bodyPr/>
                    <a:lstStyle/>
                    <a:p>
                      <a:r>
                        <a:rPr lang="en-GB" b="1" dirty="0"/>
                        <a:t>Lab 6: </a:t>
                      </a:r>
                      <a:r>
                        <a:rPr lang="en-GB" dirty="0"/>
                        <a:t>Configuring Prospect Management Canvas App</a:t>
                      </a:r>
                    </a:p>
                  </a:txBody>
                  <a:tcPr/>
                </a:tc>
                <a:tc>
                  <a:txBody>
                    <a:bodyPr/>
                    <a:lstStyle/>
                    <a:p>
                      <a:r>
                        <a:rPr lang="en-GB" dirty="0"/>
                        <a:t>Power Apps (Canvas)</a:t>
                      </a:r>
                    </a:p>
                  </a:txBody>
                  <a:tcPr/>
                </a:tc>
                <a:tc>
                  <a:txBody>
                    <a:bodyPr/>
                    <a:lstStyle/>
                    <a:p>
                      <a:r>
                        <a:rPr lang="en-GB" b="1" dirty="0"/>
                        <a:t>Lab 1  </a:t>
                      </a:r>
                      <a:r>
                        <a:rPr lang="en-GB" dirty="0"/>
                        <a:t>&amp; Small part of </a:t>
                      </a:r>
                      <a:r>
                        <a:rPr lang="en-GB" b="1" dirty="0"/>
                        <a:t>Lab 5</a:t>
                      </a:r>
                    </a:p>
                  </a:txBody>
                  <a:tcPr/>
                </a:tc>
                <a:extLst>
                  <a:ext uri="{0D108BD9-81ED-4DB2-BD59-A6C34878D82A}">
                    <a16:rowId xmlns:a16="http://schemas.microsoft.com/office/drawing/2014/main" val="2318498503"/>
                  </a:ext>
                </a:extLst>
              </a:tr>
              <a:tr h="370840">
                <a:tc>
                  <a:txBody>
                    <a:bodyPr/>
                    <a:lstStyle/>
                    <a:p>
                      <a:r>
                        <a:rPr lang="en-GB" b="1" dirty="0">
                          <a:solidFill>
                            <a:schemeClr val="tx2">
                              <a:lumMod val="25000"/>
                              <a:lumOff val="75000"/>
                            </a:schemeClr>
                          </a:solidFill>
                        </a:rPr>
                        <a:t>Lab 7</a:t>
                      </a:r>
                      <a:r>
                        <a:rPr lang="en-GB" dirty="0">
                          <a:solidFill>
                            <a:schemeClr val="tx2">
                              <a:lumMod val="25000"/>
                              <a:lumOff val="75000"/>
                            </a:schemeClr>
                          </a:solidFill>
                        </a:rPr>
                        <a:t>: AI Builder</a:t>
                      </a:r>
                    </a:p>
                  </a:txBody>
                  <a:tcPr/>
                </a:tc>
                <a:tc>
                  <a:txBody>
                    <a:bodyPr/>
                    <a:lstStyle/>
                    <a:p>
                      <a:r>
                        <a:rPr lang="en-GB" dirty="0">
                          <a:solidFill>
                            <a:schemeClr val="tx2">
                              <a:lumMod val="25000"/>
                              <a:lumOff val="75000"/>
                            </a:schemeClr>
                          </a:solidFill>
                        </a:rPr>
                        <a:t>CDS, Power Apps (Model Driven &amp; Canvas) &amp; Power Automate</a:t>
                      </a:r>
                    </a:p>
                  </a:txBody>
                  <a:tcPr/>
                </a:tc>
                <a:tc>
                  <a:txBody>
                    <a:bodyPr/>
                    <a:lstStyle/>
                    <a:p>
                      <a:r>
                        <a:rPr lang="en-GB" b="1" dirty="0">
                          <a:solidFill>
                            <a:schemeClr val="tx2">
                              <a:lumMod val="25000"/>
                              <a:lumOff val="75000"/>
                            </a:schemeClr>
                          </a:solidFill>
                        </a:rPr>
                        <a:t>Lab 1, Lab 3, Lab 6</a:t>
                      </a:r>
                    </a:p>
                  </a:txBody>
                  <a:tcPr/>
                </a:tc>
                <a:extLst>
                  <a:ext uri="{0D108BD9-81ED-4DB2-BD59-A6C34878D82A}">
                    <a16:rowId xmlns:a16="http://schemas.microsoft.com/office/drawing/2014/main" val="1885746897"/>
                  </a:ext>
                </a:extLst>
              </a:tr>
            </a:tbl>
          </a:graphicData>
        </a:graphic>
      </p:graphicFrame>
    </p:spTree>
    <p:extLst>
      <p:ext uri="{BB962C8B-B14F-4D97-AF65-F5344CB8AC3E}">
        <p14:creationId xmlns:p14="http://schemas.microsoft.com/office/powerpoint/2010/main" val="370347731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20111"/>
            <a:ext cx="12192000" cy="8112547"/>
          </a:xfrm>
          <a:prstGeom prst="rect">
            <a:avLst/>
          </a:prstGeom>
        </p:spPr>
      </p:pic>
      <p:sp>
        <p:nvSpPr>
          <p:cNvPr id="3" name="TextBox 2"/>
          <p:cNvSpPr txBox="1"/>
          <p:nvPr/>
        </p:nvSpPr>
        <p:spPr>
          <a:xfrm>
            <a:off x="4662030" y="976018"/>
            <a:ext cx="437812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This is a total risk….</a:t>
            </a:r>
          </a:p>
        </p:txBody>
      </p:sp>
      <p:sp>
        <p:nvSpPr>
          <p:cNvPr id="5" name="TextBox 4"/>
          <p:cNvSpPr txBox="1"/>
          <p:nvPr/>
        </p:nvSpPr>
        <p:spPr>
          <a:xfrm>
            <a:off x="4662030" y="2000776"/>
            <a:ext cx="628890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But playing it safe is no fun….</a:t>
            </a:r>
          </a:p>
        </p:txBody>
      </p:sp>
      <p:sp>
        <p:nvSpPr>
          <p:cNvPr id="6" name="TextBox 5"/>
          <p:cNvSpPr txBox="1"/>
          <p:nvPr/>
        </p:nvSpPr>
        <p:spPr>
          <a:xfrm>
            <a:off x="4662030" y="3020663"/>
            <a:ext cx="6288901"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rPr>
              <a:t>So lets</a:t>
            </a:r>
            <a:r>
              <a:rPr lang="en-GB" sz="4800" b="1" dirty="0">
                <a:solidFill>
                  <a:prstClr val="white"/>
                </a:solidFill>
                <a:latin typeface="Agency FB" panose="020B0503020202020204" pitchFamily="34" charset="0"/>
              </a:rPr>
              <a:t>…BUILD SOMETHING AWESOME!</a:t>
            </a:r>
            <a:endParaRPr kumimoji="0" lang="en-GB" sz="4800" b="1" i="0" u="none" strike="noStrike" kern="1200" cap="none" spc="0" normalizeH="0" baseline="0" noProof="0" dirty="0">
              <a:ln>
                <a:noFill/>
              </a:ln>
              <a:solidFill>
                <a:prstClr val="white"/>
              </a:solidFill>
              <a:effectLst/>
              <a:uLnTx/>
              <a:uFillTx/>
              <a:latin typeface="Agency FB" panose="020B0503020202020204" pitchFamily="34" charset="0"/>
              <a:ea typeface="+mn-ea"/>
              <a:cs typeface="+mn-cs"/>
            </a:endParaRPr>
          </a:p>
        </p:txBody>
      </p:sp>
    </p:spTree>
    <p:custDataLst>
      <p:tags r:id="rId1"/>
    </p:custDataLst>
    <p:extLst>
      <p:ext uri="{BB962C8B-B14F-4D97-AF65-F5344CB8AC3E}">
        <p14:creationId xmlns:p14="http://schemas.microsoft.com/office/powerpoint/2010/main" val="1968977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2EFEA97-3EAF-468D-9022-FDFDB58A4BD9}"/>
              </a:ext>
            </a:extLst>
          </p:cNvPr>
          <p:cNvSpPr>
            <a:spLocks noGrp="1"/>
          </p:cNvSpPr>
          <p:nvPr>
            <p:ph type="title"/>
          </p:nvPr>
        </p:nvSpPr>
        <p:spPr>
          <a:xfrm>
            <a:off x="578738" y="1085256"/>
            <a:ext cx="4167887" cy="1107996"/>
          </a:xfrm>
          <a:prstGeom prst="rect">
            <a:avLst/>
          </a:prstGeom>
        </p:spPr>
        <p:txBody>
          <a:bodyPr vert="horz" wrap="square" lIns="0" tIns="0" rIns="0" bIns="0" rtlCol="0" anchor="b" anchorCtr="0">
            <a:normAutofit/>
          </a:bodyPr>
          <a:lstStyle/>
          <a:p>
            <a:r>
              <a:rPr lang="en-US" b="1" kern="1200" cap="none" spc="-50" baseline="0" dirty="0">
                <a:ln w="3175">
                  <a:noFill/>
                </a:ln>
                <a:effectLst/>
                <a:latin typeface="+mj-lt"/>
                <a:ea typeface="+mn-ea"/>
                <a:cs typeface="Segoe UI" pitchFamily="34" charset="0"/>
              </a:rPr>
              <a:t>Lets Hack!</a:t>
            </a:r>
          </a:p>
        </p:txBody>
      </p:sp>
      <p:sp>
        <p:nvSpPr>
          <p:cNvPr id="7" name="TextBox 6">
            <a:extLst>
              <a:ext uri="{FF2B5EF4-FFF2-40B4-BE49-F238E27FC236}">
                <a16:creationId xmlns:a16="http://schemas.microsoft.com/office/drawing/2014/main" id="{CD340FD3-18B6-469B-9E78-F3C26DE9EBCD}"/>
              </a:ext>
            </a:extLst>
          </p:cNvPr>
          <p:cNvSpPr txBox="1"/>
          <p:nvPr/>
        </p:nvSpPr>
        <p:spPr>
          <a:xfrm>
            <a:off x="578738" y="3939436"/>
            <a:ext cx="4164583" cy="307777"/>
          </a:xfrm>
          <a:prstGeom prst="rect">
            <a:avLst/>
          </a:prstGeom>
          <a:noFill/>
        </p:spPr>
        <p:txBody>
          <a:bodyPr vert="horz" wrap="square" lIns="0" tIns="0" rIns="0" bIns="0" rtlCol="0">
            <a:noAutofit/>
          </a:bodyPr>
          <a:lstStyle/>
          <a:p>
            <a:pPr defTabSz="932563">
              <a:lnSpc>
                <a:spcPct val="90000"/>
              </a:lnSpc>
              <a:spcAft>
                <a:spcPts val="600"/>
              </a:spcAft>
              <a:buSzPct val="90000"/>
            </a:pPr>
            <a:r>
              <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rPr>
              <a:t>.</a:t>
            </a:r>
          </a:p>
          <a:p>
            <a:pPr defTabSz="932563">
              <a:lnSpc>
                <a:spcPct val="90000"/>
              </a:lnSpc>
              <a:spcAft>
                <a:spcPts val="600"/>
              </a:spcAft>
              <a:buSzPct val="90000"/>
            </a:pPr>
            <a:endPar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endParaRPr>
          </a:p>
          <a:p>
            <a:pPr defTabSz="932563">
              <a:lnSpc>
                <a:spcPct val="90000"/>
              </a:lnSpc>
              <a:spcAft>
                <a:spcPts val="600"/>
              </a:spcAft>
              <a:buSzPct val="90000"/>
            </a:pPr>
            <a:endPar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endParaRPr>
          </a:p>
        </p:txBody>
      </p:sp>
    </p:spTree>
    <p:extLst>
      <p:ext uri="{BB962C8B-B14F-4D97-AF65-F5344CB8AC3E}">
        <p14:creationId xmlns:p14="http://schemas.microsoft.com/office/powerpoint/2010/main" val="289828097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D340FD3-18B6-469B-9E78-F3C26DE9EBCD}"/>
              </a:ext>
            </a:extLst>
          </p:cNvPr>
          <p:cNvSpPr txBox="1"/>
          <p:nvPr/>
        </p:nvSpPr>
        <p:spPr>
          <a:xfrm>
            <a:off x="578738" y="3939436"/>
            <a:ext cx="4164583" cy="307777"/>
          </a:xfrm>
          <a:prstGeom prst="rect">
            <a:avLst/>
          </a:prstGeom>
          <a:noFill/>
        </p:spPr>
        <p:txBody>
          <a:bodyPr vert="horz" wrap="square" lIns="0" tIns="0" rIns="0" bIns="0" rtlCol="0">
            <a:noAutofit/>
          </a:bodyPr>
          <a:lstStyle/>
          <a:p>
            <a:pPr defTabSz="932563">
              <a:lnSpc>
                <a:spcPct val="90000"/>
              </a:lnSpc>
              <a:spcAft>
                <a:spcPts val="600"/>
              </a:spcAft>
              <a:buSzPct val="90000"/>
            </a:pPr>
            <a:r>
              <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rPr>
              <a:t>.</a:t>
            </a:r>
          </a:p>
          <a:p>
            <a:pPr defTabSz="932563">
              <a:lnSpc>
                <a:spcPct val="90000"/>
              </a:lnSpc>
              <a:spcAft>
                <a:spcPts val="600"/>
              </a:spcAft>
              <a:buSzPct val="90000"/>
            </a:pPr>
            <a:endPar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endParaRPr>
          </a:p>
          <a:p>
            <a:pPr defTabSz="932563">
              <a:lnSpc>
                <a:spcPct val="90000"/>
              </a:lnSpc>
              <a:spcAft>
                <a:spcPts val="600"/>
              </a:spcAft>
              <a:buSzPct val="90000"/>
            </a:pPr>
            <a:endParaRPr lang="en-US" sz="2000" kern="1200" spc="0" baseline="0" dirty="0">
              <a:gradFill>
                <a:gsLst>
                  <a:gs pos="91000">
                    <a:schemeClr val="tx1"/>
                  </a:gs>
                  <a:gs pos="0">
                    <a:schemeClr val="tx1"/>
                  </a:gs>
                </a:gsLst>
                <a:lin ang="5400000" scaled="0"/>
              </a:gradFill>
              <a:latin typeface="+mn-lt"/>
              <a:ea typeface="+mn-ea"/>
              <a:cs typeface="Segoe UI" panose="020B0502040204020203" pitchFamily="34" charset="0"/>
            </a:endParaRPr>
          </a:p>
        </p:txBody>
      </p:sp>
      <p:pic>
        <p:nvPicPr>
          <p:cNvPr id="5" name="Picture 4" descr="A picture containing black, white, photo, piece&#10;&#10;Description automatically generated">
            <a:extLst>
              <a:ext uri="{FF2B5EF4-FFF2-40B4-BE49-F238E27FC236}">
                <a16:creationId xmlns:a16="http://schemas.microsoft.com/office/drawing/2014/main" id="{82CE20BA-4F99-476A-924A-73BB860A5A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4012" y="2540257"/>
            <a:ext cx="3634033" cy="3634033"/>
          </a:xfrm>
          <a:prstGeom prst="rect">
            <a:avLst/>
          </a:prstGeom>
        </p:spPr>
      </p:pic>
      <p:sp>
        <p:nvSpPr>
          <p:cNvPr id="9" name="Title 1">
            <a:extLst>
              <a:ext uri="{FF2B5EF4-FFF2-40B4-BE49-F238E27FC236}">
                <a16:creationId xmlns:a16="http://schemas.microsoft.com/office/drawing/2014/main" id="{B7D1AA7C-A26A-410D-AEED-BC2EDE7F5C87}"/>
              </a:ext>
            </a:extLst>
          </p:cNvPr>
          <p:cNvSpPr>
            <a:spLocks noGrp="1"/>
          </p:cNvSpPr>
          <p:nvPr>
            <p:ph type="title"/>
          </p:nvPr>
        </p:nvSpPr>
        <p:spPr>
          <a:xfrm>
            <a:off x="578738" y="947660"/>
            <a:ext cx="4474029" cy="1107996"/>
          </a:xfrm>
          <a:prstGeom prst="rect">
            <a:avLst/>
          </a:prstGeom>
        </p:spPr>
        <p:txBody>
          <a:bodyPr vert="horz" wrap="square" lIns="0" tIns="0" rIns="0" bIns="0" rtlCol="0" anchor="b" anchorCtr="0">
            <a:normAutofit/>
          </a:bodyPr>
          <a:lstStyle/>
          <a:p>
            <a:pPr algn="ctr"/>
            <a:r>
              <a:rPr lang="en-US" b="1" kern="1200" cap="none" spc="-50" baseline="0" dirty="0">
                <a:ln w="3175">
                  <a:noFill/>
                </a:ln>
                <a:effectLst/>
                <a:latin typeface="+mj-lt"/>
                <a:ea typeface="+mn-ea"/>
                <a:cs typeface="Segoe UI" pitchFamily="34" charset="0"/>
              </a:rPr>
              <a:t>FEEDBACK PLEASE </a:t>
            </a:r>
            <a:r>
              <a:rPr lang="en-US" b="1" kern="1200" cap="none" spc="-50" baseline="0" dirty="0">
                <a:ln w="3175">
                  <a:noFill/>
                </a:ln>
                <a:effectLst/>
                <a:latin typeface="+mj-lt"/>
                <a:ea typeface="+mn-ea"/>
                <a:cs typeface="Segoe UI" pitchFamily="34" charset="0"/>
                <a:sym typeface="Wingdings" panose="05000000000000000000" pitchFamily="2" charset="2"/>
              </a:rPr>
              <a:t></a:t>
            </a:r>
            <a:endParaRPr lang="en-US" b="1" kern="1200" cap="none" spc="-50" baseline="0" dirty="0">
              <a:ln w="3175">
                <a:noFill/>
              </a:ln>
              <a:effectLst/>
              <a:latin typeface="+mj-lt"/>
              <a:ea typeface="+mn-ea"/>
              <a:cs typeface="Segoe UI" pitchFamily="34" charset="0"/>
            </a:endParaRPr>
          </a:p>
        </p:txBody>
      </p:sp>
    </p:spTree>
    <p:extLst>
      <p:ext uri="{BB962C8B-B14F-4D97-AF65-F5344CB8AC3E}">
        <p14:creationId xmlns:p14="http://schemas.microsoft.com/office/powerpoint/2010/main" val="50316756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2150745" y="1559335"/>
            <a:ext cx="8257781" cy="3034501"/>
            <a:chOff x="2010725" y="1327777"/>
            <a:chExt cx="8257781" cy="3034501"/>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 Apps</a:t>
              </a:r>
            </a:p>
          </p:txBody>
        </p:sp>
      </p:grpSp>
      <p:grpSp>
        <p:nvGrpSpPr>
          <p:cNvPr id="13" name="Group 12">
            <a:extLst>
              <a:ext uri="{FF2B5EF4-FFF2-40B4-BE49-F238E27FC236}">
                <a16:creationId xmlns:a16="http://schemas.microsoft.com/office/drawing/2014/main" id="{E951BCC0-D03E-4AF4-8195-9CDE9DA13D94}"/>
              </a:ext>
            </a:extLst>
          </p:cNvPr>
          <p:cNvGrpSpPr/>
          <p:nvPr/>
        </p:nvGrpSpPr>
        <p:grpSpPr>
          <a:xfrm>
            <a:off x="2453628" y="2880734"/>
            <a:ext cx="3664963" cy="892298"/>
            <a:chOff x="2313608" y="2649176"/>
            <a:chExt cx="3664963" cy="892298"/>
          </a:xfrm>
        </p:grpSpPr>
        <p:sp>
          <p:nvSpPr>
            <p:cNvPr id="14" name="Rectangle: Rounded Corners 13">
              <a:extLst>
                <a:ext uri="{FF2B5EF4-FFF2-40B4-BE49-F238E27FC236}">
                  <a16:creationId xmlns:a16="http://schemas.microsoft.com/office/drawing/2014/main" id="{47AE2417-DEF1-4BCE-AE62-943B84ADFCD8}"/>
                </a:ext>
              </a:extLst>
            </p:cNvPr>
            <p:cNvSpPr/>
            <p:nvPr/>
          </p:nvSpPr>
          <p:spPr>
            <a:xfrm>
              <a:off x="2313608" y="2649176"/>
              <a:ext cx="3664963" cy="89229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F0371148-9229-4AE6-AC63-37D9FF54348C}"/>
                </a:ext>
              </a:extLst>
            </p:cNvPr>
            <p:cNvSpPr/>
            <p:nvPr/>
          </p:nvSpPr>
          <p:spPr>
            <a:xfrm>
              <a:off x="3220069" y="2814688"/>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anagement Model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2150745" y="567206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Management Report</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02AC81B3-CA27-4E55-83BF-BB1BB35A7421}"/>
              </a:ext>
            </a:extLst>
          </p:cNvPr>
          <p:cNvGrpSpPr/>
          <p:nvPr/>
        </p:nvGrpSpPr>
        <p:grpSpPr>
          <a:xfrm>
            <a:off x="6421474" y="1866482"/>
            <a:ext cx="3664963" cy="1908479"/>
            <a:chOff x="6319865" y="1520192"/>
            <a:chExt cx="3664963" cy="1908479"/>
          </a:xfrm>
        </p:grpSpPr>
        <p:sp>
          <p:nvSpPr>
            <p:cNvPr id="35" name="Rectangle: Rounded Corners 8">
              <a:extLst>
                <a:ext uri="{FF2B5EF4-FFF2-40B4-BE49-F238E27FC236}">
                  <a16:creationId xmlns:a16="http://schemas.microsoft.com/office/drawing/2014/main" id="{F21AC980-A75F-4A14-B555-210200351C73}"/>
                </a:ext>
              </a:extLst>
            </p:cNvPr>
            <p:cNvSpPr/>
            <p:nvPr/>
          </p:nvSpPr>
          <p:spPr>
            <a:xfrm>
              <a:off x="6319865" y="1520192"/>
              <a:ext cx="3664963" cy="1908479"/>
            </a:xfrm>
            <a:prstGeom prst="roundRect">
              <a:avLst>
                <a:gd name="adj" fmla="val 8999"/>
              </a:avLst>
            </a:prstGeom>
            <a:blipFill>
              <a:blip r:embed="rId5"/>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18">
              <a:extLst>
                <a:ext uri="{FF2B5EF4-FFF2-40B4-BE49-F238E27FC236}">
                  <a16:creationId xmlns:a16="http://schemas.microsoft.com/office/drawing/2014/main" id="{54262644-6D3A-4138-807B-CAB21031EA27}"/>
                </a:ext>
              </a:extLst>
            </p:cNvPr>
            <p:cNvSpPr/>
            <p:nvPr/>
          </p:nvSpPr>
          <p:spPr>
            <a:xfrm>
              <a:off x="7276527" y="2153685"/>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Record Management Canvas App</a:t>
              </a:r>
            </a:p>
          </p:txBody>
        </p:sp>
      </p:grpSp>
      <p:grpSp>
        <p:nvGrpSpPr>
          <p:cNvPr id="43" name="Group 42">
            <a:extLst>
              <a:ext uri="{FF2B5EF4-FFF2-40B4-BE49-F238E27FC236}">
                <a16:creationId xmlns:a16="http://schemas.microsoft.com/office/drawing/2014/main" id="{0C403346-FC2A-4F4B-A6DA-C0359C925F73}"/>
              </a:ext>
            </a:extLst>
          </p:cNvPr>
          <p:cNvGrpSpPr/>
          <p:nvPr/>
        </p:nvGrpSpPr>
        <p:grpSpPr>
          <a:xfrm>
            <a:off x="2150745" y="565562"/>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 User via Email</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140F4C77-D924-480E-B2A6-2D48E0A20160}"/>
              </a:ext>
            </a:extLst>
          </p:cNvPr>
          <p:cNvGrpSpPr/>
          <p:nvPr/>
        </p:nvGrpSpPr>
        <p:grpSpPr>
          <a:xfrm>
            <a:off x="2471401" y="1886519"/>
            <a:ext cx="3645757" cy="892298"/>
            <a:chOff x="2471401" y="1886519"/>
            <a:chExt cx="3645757" cy="892298"/>
          </a:xfrm>
        </p:grpSpPr>
        <p:grpSp>
          <p:nvGrpSpPr>
            <p:cNvPr id="37" name="Group 36">
              <a:extLst>
                <a:ext uri="{FF2B5EF4-FFF2-40B4-BE49-F238E27FC236}">
                  <a16:creationId xmlns:a16="http://schemas.microsoft.com/office/drawing/2014/main" id="{BC246A2C-442C-4EB2-A001-F0D2D37644DC}"/>
                </a:ext>
              </a:extLst>
            </p:cNvPr>
            <p:cNvGrpSpPr/>
            <p:nvPr/>
          </p:nvGrpSpPr>
          <p:grpSpPr>
            <a:xfrm>
              <a:off x="2471401" y="1886519"/>
              <a:ext cx="3645757" cy="892298"/>
              <a:chOff x="2331381" y="1654961"/>
              <a:chExt cx="3645757" cy="892298"/>
            </a:xfrm>
          </p:grpSpPr>
          <p:sp>
            <p:nvSpPr>
              <p:cNvPr id="38" name="Rectangle: Rounded Corners 8">
                <a:extLst>
                  <a:ext uri="{FF2B5EF4-FFF2-40B4-BE49-F238E27FC236}">
                    <a16:creationId xmlns:a16="http://schemas.microsoft.com/office/drawing/2014/main" id="{3C17CC9B-8F1F-4A8D-A0B2-D2FAE80D6F4A}"/>
                  </a:ext>
                </a:extLst>
              </p:cNvPr>
              <p:cNvSpPr/>
              <p:nvPr/>
            </p:nvSpPr>
            <p:spPr>
              <a:xfrm>
                <a:off x="2331381" y="1654961"/>
                <a:ext cx="3645757" cy="892298"/>
              </a:xfrm>
              <a:prstGeom prst="roundRect">
                <a:avLst>
                  <a:gd name="adj" fmla="val 8999"/>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hevron 11">
                <a:extLst>
                  <a:ext uri="{FF2B5EF4-FFF2-40B4-BE49-F238E27FC236}">
                    <a16:creationId xmlns:a16="http://schemas.microsoft.com/office/drawing/2014/main" id="{6FF9ECA7-CEA1-4703-8826-0EE8029033F0}"/>
                  </a:ext>
                </a:extLst>
              </p:cNvPr>
              <p:cNvSpPr/>
              <p:nvPr/>
            </p:nvSpPr>
            <p:spPr>
              <a:xfrm>
                <a:off x="2488259" y="1725167"/>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Chevron 81">
                <a:extLst>
                  <a:ext uri="{FF2B5EF4-FFF2-40B4-BE49-F238E27FC236}">
                    <a16:creationId xmlns:a16="http://schemas.microsoft.com/office/drawing/2014/main" id="{7EEDD7B5-5BB1-4D63-BB7C-21E9301B68C1}"/>
                  </a:ext>
                </a:extLst>
              </p:cNvPr>
              <p:cNvSpPr/>
              <p:nvPr/>
            </p:nvSpPr>
            <p:spPr>
              <a:xfrm>
                <a:off x="3254406"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Chevron 82">
                <a:extLst>
                  <a:ext uri="{FF2B5EF4-FFF2-40B4-BE49-F238E27FC236}">
                    <a16:creationId xmlns:a16="http://schemas.microsoft.com/office/drawing/2014/main" id="{B1E70A49-FD21-4FE9-8C7D-E39517A60E9C}"/>
                  </a:ext>
                </a:extLst>
              </p:cNvPr>
              <p:cNvSpPr/>
              <p:nvPr/>
            </p:nvSpPr>
            <p:spPr>
              <a:xfrm>
                <a:off x="4020553" y="1717765"/>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Chevron 83">
                <a:extLst>
                  <a:ext uri="{FF2B5EF4-FFF2-40B4-BE49-F238E27FC236}">
                    <a16:creationId xmlns:a16="http://schemas.microsoft.com/office/drawing/2014/main" id="{C0332614-E4F4-437A-816B-7CACFB2F8BC8}"/>
                  </a:ext>
                </a:extLst>
              </p:cNvPr>
              <p:cNvSpPr/>
              <p:nvPr/>
            </p:nvSpPr>
            <p:spPr>
              <a:xfrm>
                <a:off x="4776868"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8" name="Rectangle: Rounded Corners 18">
              <a:extLst>
                <a:ext uri="{FF2B5EF4-FFF2-40B4-BE49-F238E27FC236}">
                  <a16:creationId xmlns:a16="http://schemas.microsoft.com/office/drawing/2014/main" id="{93A844A9-9E7B-471E-9AFD-EB13CE3F3D66}"/>
                </a:ext>
              </a:extLst>
            </p:cNvPr>
            <p:cNvSpPr/>
            <p:nvPr/>
          </p:nvSpPr>
          <p:spPr>
            <a:xfrm>
              <a:off x="2628278" y="2073854"/>
              <a:ext cx="3376513" cy="576256"/>
            </a:xfrm>
            <a:prstGeom prst="roundRect">
              <a:avLst/>
            </a:prstGeom>
            <a:solidFill>
              <a:srgbClr val="006EFF"/>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Management</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 Process</a:t>
              </a:r>
            </a:p>
          </p:txBody>
        </p:sp>
      </p:grpSp>
      <p:grpSp>
        <p:nvGrpSpPr>
          <p:cNvPr id="2" name="Group 1">
            <a:extLst>
              <a:ext uri="{FF2B5EF4-FFF2-40B4-BE49-F238E27FC236}">
                <a16:creationId xmlns:a16="http://schemas.microsoft.com/office/drawing/2014/main" id="{3A3C4BEB-58C7-4025-BD62-02ACA60F9F40}"/>
              </a:ext>
            </a:extLst>
          </p:cNvPr>
          <p:cNvGrpSpPr/>
          <p:nvPr/>
        </p:nvGrpSpPr>
        <p:grpSpPr>
          <a:xfrm>
            <a:off x="2150747" y="473091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dirty="0">
                  <a:solidFill>
                    <a:prstClr val="black"/>
                  </a:solidFill>
                  <a:latin typeface="Calibri" panose="020F0502020204030204"/>
                </a:rPr>
                <a:t>Dataverse</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4" name="Rectangle 3">
            <a:extLst>
              <a:ext uri="{FF2B5EF4-FFF2-40B4-BE49-F238E27FC236}">
                <a16:creationId xmlns:a16="http://schemas.microsoft.com/office/drawing/2014/main" id="{E5021D60-D852-4E38-A577-0185B6E77B28}"/>
              </a:ext>
            </a:extLst>
          </p:cNvPr>
          <p:cNvSpPr/>
          <p:nvPr/>
        </p:nvSpPr>
        <p:spPr bwMode="auto">
          <a:xfrm>
            <a:off x="2094776" y="4656641"/>
            <a:ext cx="8391891" cy="939670"/>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1D1726AB-F25C-4100-8199-5B7A7C853BF6}"/>
              </a:ext>
            </a:extLst>
          </p:cNvPr>
          <p:cNvSpPr/>
          <p:nvPr/>
        </p:nvSpPr>
        <p:spPr bwMode="auto">
          <a:xfrm>
            <a:off x="2094776" y="1407586"/>
            <a:ext cx="8391891" cy="3282260"/>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D2285E00-FAF9-4410-A21A-1A51782BD2FE}"/>
              </a:ext>
            </a:extLst>
          </p:cNvPr>
          <p:cNvSpPr/>
          <p:nvPr/>
        </p:nvSpPr>
        <p:spPr bwMode="auto">
          <a:xfrm>
            <a:off x="2094776" y="517214"/>
            <a:ext cx="8391891" cy="891591"/>
          </a:xfrm>
          <a:prstGeom prst="rect">
            <a:avLst/>
          </a:prstGeom>
          <a:solidFill>
            <a:schemeClr val="tx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19004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FCA3CB5-9FC9-4F2F-953B-A11D4E571801}"/>
              </a:ext>
            </a:extLst>
          </p:cNvPr>
          <p:cNvGrpSpPr/>
          <p:nvPr/>
        </p:nvGrpSpPr>
        <p:grpSpPr>
          <a:xfrm>
            <a:off x="2150745" y="1559335"/>
            <a:ext cx="8257781" cy="3034501"/>
            <a:chOff x="2010725" y="1327777"/>
            <a:chExt cx="8257781" cy="3034501"/>
          </a:xfrm>
        </p:grpSpPr>
        <p:sp>
          <p:nvSpPr>
            <p:cNvPr id="9" name="Rectangle: Rounded Corners 1">
              <a:extLst>
                <a:ext uri="{FF2B5EF4-FFF2-40B4-BE49-F238E27FC236}">
                  <a16:creationId xmlns:a16="http://schemas.microsoft.com/office/drawing/2014/main" id="{C1F983C3-AA81-4684-9B1D-1141F45E6331}"/>
                </a:ext>
              </a:extLst>
            </p:cNvPr>
            <p:cNvSpPr/>
            <p:nvPr/>
          </p:nvSpPr>
          <p:spPr>
            <a:xfrm>
              <a:off x="2010725" y="1327777"/>
              <a:ext cx="8257781" cy="303450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2" descr="Image result for powerapps logo">
              <a:extLst>
                <a:ext uri="{FF2B5EF4-FFF2-40B4-BE49-F238E27FC236}">
                  <a16:creationId xmlns:a16="http://schemas.microsoft.com/office/drawing/2014/main" id="{CD720A15-618D-40DC-9856-DCB8ED4563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890" y="3611539"/>
              <a:ext cx="851204" cy="7206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92A787-F8E7-439E-AC61-582E4E1A8456}"/>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Power Apps</a:t>
              </a:r>
            </a:p>
          </p:txBody>
        </p:sp>
      </p:grpSp>
      <p:grpSp>
        <p:nvGrpSpPr>
          <p:cNvPr id="13" name="Group 12">
            <a:extLst>
              <a:ext uri="{FF2B5EF4-FFF2-40B4-BE49-F238E27FC236}">
                <a16:creationId xmlns:a16="http://schemas.microsoft.com/office/drawing/2014/main" id="{E951BCC0-D03E-4AF4-8195-9CDE9DA13D94}"/>
              </a:ext>
            </a:extLst>
          </p:cNvPr>
          <p:cNvGrpSpPr/>
          <p:nvPr/>
        </p:nvGrpSpPr>
        <p:grpSpPr>
          <a:xfrm>
            <a:off x="2453628" y="2880734"/>
            <a:ext cx="3664963" cy="892298"/>
            <a:chOff x="2313608" y="2649176"/>
            <a:chExt cx="3664963" cy="892298"/>
          </a:xfrm>
        </p:grpSpPr>
        <p:sp>
          <p:nvSpPr>
            <p:cNvPr id="14" name="Rectangle: Rounded Corners 13">
              <a:extLst>
                <a:ext uri="{FF2B5EF4-FFF2-40B4-BE49-F238E27FC236}">
                  <a16:creationId xmlns:a16="http://schemas.microsoft.com/office/drawing/2014/main" id="{47AE2417-DEF1-4BCE-AE62-943B84ADFCD8}"/>
                </a:ext>
              </a:extLst>
            </p:cNvPr>
            <p:cNvSpPr/>
            <p:nvPr/>
          </p:nvSpPr>
          <p:spPr>
            <a:xfrm>
              <a:off x="2313608" y="2649176"/>
              <a:ext cx="3664963" cy="892298"/>
            </a:xfrm>
            <a:prstGeom prst="roundRect">
              <a:avLst>
                <a:gd name="adj" fmla="val 8999"/>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F0371148-9229-4AE6-AC63-37D9FF54348C}"/>
                </a:ext>
              </a:extLst>
            </p:cNvPr>
            <p:cNvSpPr/>
            <p:nvPr/>
          </p:nvSpPr>
          <p:spPr>
            <a:xfrm>
              <a:off x="3220069" y="2814688"/>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Management Model App</a:t>
              </a:r>
            </a:p>
          </p:txBody>
        </p:sp>
      </p:grpSp>
      <p:grpSp>
        <p:nvGrpSpPr>
          <p:cNvPr id="25" name="Group 24">
            <a:extLst>
              <a:ext uri="{FF2B5EF4-FFF2-40B4-BE49-F238E27FC236}">
                <a16:creationId xmlns:a16="http://schemas.microsoft.com/office/drawing/2014/main" id="{7DF671BF-AAA9-49D0-90D3-9233AF68FF30}"/>
              </a:ext>
            </a:extLst>
          </p:cNvPr>
          <p:cNvGrpSpPr/>
          <p:nvPr/>
        </p:nvGrpSpPr>
        <p:grpSpPr>
          <a:xfrm>
            <a:off x="2150745" y="5672066"/>
            <a:ext cx="8257781" cy="777461"/>
            <a:chOff x="2010726" y="5410720"/>
            <a:chExt cx="8257781" cy="777461"/>
          </a:xfrm>
        </p:grpSpPr>
        <p:sp>
          <p:nvSpPr>
            <p:cNvPr id="26" name="Rectangle: Rounded Corners 1">
              <a:extLst>
                <a:ext uri="{FF2B5EF4-FFF2-40B4-BE49-F238E27FC236}">
                  <a16:creationId xmlns:a16="http://schemas.microsoft.com/office/drawing/2014/main" id="{F41F6971-5AE1-40BA-832B-932D13C82ADF}"/>
                </a:ext>
              </a:extLst>
            </p:cNvPr>
            <p:cNvSpPr/>
            <p:nvPr/>
          </p:nvSpPr>
          <p:spPr>
            <a:xfrm>
              <a:off x="2010726" y="5410720"/>
              <a:ext cx="8257781" cy="777461"/>
            </a:xfrm>
            <a:prstGeom prst="roundRect">
              <a:avLst>
                <a:gd name="adj" fmla="val 14674"/>
              </a:avLst>
            </a:prstGeom>
            <a:solidFill>
              <a:schemeClr val="bg1">
                <a:lumMod val="95000"/>
              </a:schemeClr>
            </a:solidFill>
            <a:ln w="57150">
              <a:solidFill>
                <a:srgbClr val="FFC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C750B8A-21C0-41B3-B9B5-D57CD8D5C4A2}"/>
                </a:ext>
              </a:extLst>
            </p:cNvPr>
            <p:cNvSpPr txBox="1"/>
            <p:nvPr/>
          </p:nvSpPr>
          <p:spPr>
            <a:xfrm>
              <a:off x="2112578" y="5550851"/>
              <a:ext cx="8038514"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Data Management Report</a:t>
              </a:r>
            </a:p>
          </p:txBody>
        </p:sp>
        <p:grpSp>
          <p:nvGrpSpPr>
            <p:cNvPr id="28" name="Group 4">
              <a:extLst>
                <a:ext uri="{FF2B5EF4-FFF2-40B4-BE49-F238E27FC236}">
                  <a16:creationId xmlns:a16="http://schemas.microsoft.com/office/drawing/2014/main" id="{E7685EAE-2594-4ECE-925D-DEE7661918DD}"/>
                </a:ext>
              </a:extLst>
            </p:cNvPr>
            <p:cNvGrpSpPr>
              <a:grpSpLocks noChangeAspect="1"/>
            </p:cNvGrpSpPr>
            <p:nvPr/>
          </p:nvGrpSpPr>
          <p:grpSpPr bwMode="auto">
            <a:xfrm>
              <a:off x="2252468" y="5579418"/>
              <a:ext cx="581038" cy="440063"/>
              <a:chOff x="2792" y="3887"/>
              <a:chExt cx="305" cy="231"/>
            </a:xfrm>
            <a:solidFill>
              <a:srgbClr val="FFC000"/>
            </a:solidFill>
          </p:grpSpPr>
          <p:sp>
            <p:nvSpPr>
              <p:cNvPr id="29" name="Freeform 5">
                <a:extLst>
                  <a:ext uri="{FF2B5EF4-FFF2-40B4-BE49-F238E27FC236}">
                    <a16:creationId xmlns:a16="http://schemas.microsoft.com/office/drawing/2014/main" id="{F6748C29-BC6C-424C-9B82-A5630D153F34}"/>
                  </a:ext>
                </a:extLst>
              </p:cNvPr>
              <p:cNvSpPr>
                <a:spLocks/>
              </p:cNvSpPr>
              <p:nvPr/>
            </p:nvSpPr>
            <p:spPr bwMode="auto">
              <a:xfrm>
                <a:off x="2792" y="3887"/>
                <a:ext cx="305" cy="201"/>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079A449B-D909-4417-B3BA-FEAE84194E9E}"/>
                  </a:ext>
                </a:extLst>
              </p:cNvPr>
              <p:cNvSpPr>
                <a:spLocks/>
              </p:cNvSpPr>
              <p:nvPr/>
            </p:nvSpPr>
            <p:spPr bwMode="auto">
              <a:xfrm>
                <a:off x="2849" y="4046"/>
                <a:ext cx="33" cy="72"/>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27B1F3CF-B335-499D-B598-691C446421AA}"/>
                  </a:ext>
                </a:extLst>
              </p:cNvPr>
              <p:cNvSpPr>
                <a:spLocks/>
              </p:cNvSpPr>
              <p:nvPr/>
            </p:nvSpPr>
            <p:spPr bwMode="auto">
              <a:xfrm>
                <a:off x="2901" y="3984"/>
                <a:ext cx="34" cy="134"/>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378A552C-3B19-49A9-AE41-B39F9495A118}"/>
                  </a:ext>
                </a:extLst>
              </p:cNvPr>
              <p:cNvSpPr>
                <a:spLocks/>
              </p:cNvSpPr>
              <p:nvPr/>
            </p:nvSpPr>
            <p:spPr bwMode="auto">
              <a:xfrm>
                <a:off x="3006" y="3942"/>
                <a:ext cx="34" cy="176"/>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33" name="Freeform 9">
                <a:extLst>
                  <a:ext uri="{FF2B5EF4-FFF2-40B4-BE49-F238E27FC236}">
                    <a16:creationId xmlns:a16="http://schemas.microsoft.com/office/drawing/2014/main" id="{AAE83808-C110-43A1-B42A-E829631BD4A5}"/>
                  </a:ext>
                </a:extLst>
              </p:cNvPr>
              <p:cNvSpPr>
                <a:spLocks/>
              </p:cNvSpPr>
              <p:nvPr/>
            </p:nvSpPr>
            <p:spPr bwMode="auto">
              <a:xfrm>
                <a:off x="2954" y="4010"/>
                <a:ext cx="33" cy="108"/>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grpSp>
        <p:nvGrpSpPr>
          <p:cNvPr id="34" name="Group 33">
            <a:extLst>
              <a:ext uri="{FF2B5EF4-FFF2-40B4-BE49-F238E27FC236}">
                <a16:creationId xmlns:a16="http://schemas.microsoft.com/office/drawing/2014/main" id="{02AC81B3-CA27-4E55-83BF-BB1BB35A7421}"/>
              </a:ext>
            </a:extLst>
          </p:cNvPr>
          <p:cNvGrpSpPr/>
          <p:nvPr/>
        </p:nvGrpSpPr>
        <p:grpSpPr>
          <a:xfrm>
            <a:off x="6421474" y="1866482"/>
            <a:ext cx="3664963" cy="1908479"/>
            <a:chOff x="6319865" y="1520192"/>
            <a:chExt cx="3664963" cy="1908479"/>
          </a:xfrm>
        </p:grpSpPr>
        <p:sp>
          <p:nvSpPr>
            <p:cNvPr id="35" name="Rectangle: Rounded Corners 8">
              <a:extLst>
                <a:ext uri="{FF2B5EF4-FFF2-40B4-BE49-F238E27FC236}">
                  <a16:creationId xmlns:a16="http://schemas.microsoft.com/office/drawing/2014/main" id="{F21AC980-A75F-4A14-B555-210200351C73}"/>
                </a:ext>
              </a:extLst>
            </p:cNvPr>
            <p:cNvSpPr/>
            <p:nvPr/>
          </p:nvSpPr>
          <p:spPr>
            <a:xfrm>
              <a:off x="6319865" y="1520192"/>
              <a:ext cx="3664963" cy="1908479"/>
            </a:xfrm>
            <a:prstGeom prst="roundRect">
              <a:avLst>
                <a:gd name="adj" fmla="val 8999"/>
              </a:avLst>
            </a:prstGeom>
            <a:blipFill>
              <a:blip r:embed="rId5"/>
              <a:stretch>
                <a:fillRect/>
              </a:stretch>
            </a:blip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18">
              <a:extLst>
                <a:ext uri="{FF2B5EF4-FFF2-40B4-BE49-F238E27FC236}">
                  <a16:creationId xmlns:a16="http://schemas.microsoft.com/office/drawing/2014/main" id="{54262644-6D3A-4138-807B-CAB21031EA27}"/>
                </a:ext>
              </a:extLst>
            </p:cNvPr>
            <p:cNvSpPr/>
            <p:nvPr/>
          </p:nvSpPr>
          <p:spPr>
            <a:xfrm>
              <a:off x="7276527" y="2153685"/>
              <a:ext cx="1852042" cy="576256"/>
            </a:xfrm>
            <a:prstGeom prst="roundRect">
              <a:avLst/>
            </a:prstGeom>
            <a:solidFill>
              <a:srgbClr val="742774"/>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Record Management Canvas App</a:t>
              </a:r>
            </a:p>
          </p:txBody>
        </p:sp>
      </p:grpSp>
      <p:grpSp>
        <p:nvGrpSpPr>
          <p:cNvPr id="43" name="Group 42">
            <a:extLst>
              <a:ext uri="{FF2B5EF4-FFF2-40B4-BE49-F238E27FC236}">
                <a16:creationId xmlns:a16="http://schemas.microsoft.com/office/drawing/2014/main" id="{0C403346-FC2A-4F4B-A6DA-C0359C925F73}"/>
              </a:ext>
            </a:extLst>
          </p:cNvPr>
          <p:cNvGrpSpPr/>
          <p:nvPr/>
        </p:nvGrpSpPr>
        <p:grpSpPr>
          <a:xfrm>
            <a:off x="2150745" y="565562"/>
            <a:ext cx="8257781" cy="804451"/>
            <a:chOff x="2010725" y="564957"/>
            <a:chExt cx="8257781" cy="804451"/>
          </a:xfrm>
        </p:grpSpPr>
        <p:grpSp>
          <p:nvGrpSpPr>
            <p:cNvPr id="44" name="Group 43">
              <a:extLst>
                <a:ext uri="{FF2B5EF4-FFF2-40B4-BE49-F238E27FC236}">
                  <a16:creationId xmlns:a16="http://schemas.microsoft.com/office/drawing/2014/main" id="{4479167D-626C-4993-A4D8-BB99ABE210B1}"/>
                </a:ext>
              </a:extLst>
            </p:cNvPr>
            <p:cNvGrpSpPr/>
            <p:nvPr/>
          </p:nvGrpSpPr>
          <p:grpSpPr>
            <a:xfrm>
              <a:off x="2010725" y="583512"/>
              <a:ext cx="8257781" cy="777461"/>
              <a:chOff x="2010725" y="3584816"/>
              <a:chExt cx="8257781" cy="777461"/>
            </a:xfrm>
          </p:grpSpPr>
          <p:sp>
            <p:nvSpPr>
              <p:cNvPr id="46" name="Rectangle: Rounded Corners 1">
                <a:extLst>
                  <a:ext uri="{FF2B5EF4-FFF2-40B4-BE49-F238E27FC236}">
                    <a16:creationId xmlns:a16="http://schemas.microsoft.com/office/drawing/2014/main" id="{AD8E78E2-0B44-4FF7-8D3F-6A8114D4E3F1}"/>
                  </a:ext>
                </a:extLst>
              </p:cNvPr>
              <p:cNvSpPr/>
              <p:nvPr/>
            </p:nvSpPr>
            <p:spPr>
              <a:xfrm>
                <a:off x="2010725" y="3584816"/>
                <a:ext cx="8257781" cy="777461"/>
              </a:xfrm>
              <a:prstGeom prst="roundRect">
                <a:avLst>
                  <a:gd name="adj" fmla="val 14674"/>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1A45CEF4-42EF-4E45-8AF6-DFD2FCD39ECE}"/>
                  </a:ext>
                </a:extLst>
              </p:cNvPr>
              <p:cNvSpPr txBox="1"/>
              <p:nvPr/>
            </p:nvSpPr>
            <p:spPr>
              <a:xfrm>
                <a:off x="2112578" y="3705879"/>
                <a:ext cx="8038513" cy="500253"/>
              </a:xfrm>
              <a:prstGeom prst="rect">
                <a:avLst/>
              </a:prstGeom>
            </p:spPr>
            <p:txBody>
              <a:bodyPr vert="horz" wrap="square" lIns="68580" tIns="34290" rIns="68580" bIns="34290" rtlCol="0" anchor="b" anchorCtr="0">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Alert User via Email</a:t>
                </a:r>
              </a:p>
            </p:txBody>
          </p:sp>
        </p:grpSp>
        <p:pic>
          <p:nvPicPr>
            <p:cNvPr id="45" name="Picture 2" descr="Image result for Microsoft Flow logo">
              <a:extLst>
                <a:ext uri="{FF2B5EF4-FFF2-40B4-BE49-F238E27FC236}">
                  <a16:creationId xmlns:a16="http://schemas.microsoft.com/office/drawing/2014/main" id="{85392A96-948D-4CE9-96BA-D2AC2013AC5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99643" y="564957"/>
              <a:ext cx="804451" cy="804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140F4C77-D924-480E-B2A6-2D48E0A20160}"/>
              </a:ext>
            </a:extLst>
          </p:cNvPr>
          <p:cNvGrpSpPr/>
          <p:nvPr/>
        </p:nvGrpSpPr>
        <p:grpSpPr>
          <a:xfrm>
            <a:off x="2471401" y="1886519"/>
            <a:ext cx="3645757" cy="892298"/>
            <a:chOff x="2471401" y="1886519"/>
            <a:chExt cx="3645757" cy="892298"/>
          </a:xfrm>
        </p:grpSpPr>
        <p:grpSp>
          <p:nvGrpSpPr>
            <p:cNvPr id="37" name="Group 36">
              <a:extLst>
                <a:ext uri="{FF2B5EF4-FFF2-40B4-BE49-F238E27FC236}">
                  <a16:creationId xmlns:a16="http://schemas.microsoft.com/office/drawing/2014/main" id="{BC246A2C-442C-4EB2-A001-F0D2D37644DC}"/>
                </a:ext>
              </a:extLst>
            </p:cNvPr>
            <p:cNvGrpSpPr/>
            <p:nvPr/>
          </p:nvGrpSpPr>
          <p:grpSpPr>
            <a:xfrm>
              <a:off x="2471401" y="1886519"/>
              <a:ext cx="3645757" cy="892298"/>
              <a:chOff x="2331381" y="1654961"/>
              <a:chExt cx="3645757" cy="892298"/>
            </a:xfrm>
          </p:grpSpPr>
          <p:sp>
            <p:nvSpPr>
              <p:cNvPr id="38" name="Rectangle: Rounded Corners 8">
                <a:extLst>
                  <a:ext uri="{FF2B5EF4-FFF2-40B4-BE49-F238E27FC236}">
                    <a16:creationId xmlns:a16="http://schemas.microsoft.com/office/drawing/2014/main" id="{3C17CC9B-8F1F-4A8D-A0B2-D2FAE80D6F4A}"/>
                  </a:ext>
                </a:extLst>
              </p:cNvPr>
              <p:cNvSpPr/>
              <p:nvPr/>
            </p:nvSpPr>
            <p:spPr>
              <a:xfrm>
                <a:off x="2331381" y="1654961"/>
                <a:ext cx="3645757" cy="892298"/>
              </a:xfrm>
              <a:prstGeom prst="roundRect">
                <a:avLst>
                  <a:gd name="adj" fmla="val 8999"/>
                </a:avLst>
              </a:prstGeom>
              <a:solidFill>
                <a:schemeClr val="bg1">
                  <a:lumMod val="95000"/>
                </a:schemeClr>
              </a:solidFill>
              <a:ln w="57150">
                <a:solidFill>
                  <a:srgbClr val="006EFF"/>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hevron 11">
                <a:extLst>
                  <a:ext uri="{FF2B5EF4-FFF2-40B4-BE49-F238E27FC236}">
                    <a16:creationId xmlns:a16="http://schemas.microsoft.com/office/drawing/2014/main" id="{6FF9ECA7-CEA1-4703-8826-0EE8029033F0}"/>
                  </a:ext>
                </a:extLst>
              </p:cNvPr>
              <p:cNvSpPr/>
              <p:nvPr/>
            </p:nvSpPr>
            <p:spPr>
              <a:xfrm>
                <a:off x="2488259" y="1725167"/>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Chevron 81">
                <a:extLst>
                  <a:ext uri="{FF2B5EF4-FFF2-40B4-BE49-F238E27FC236}">
                    <a16:creationId xmlns:a16="http://schemas.microsoft.com/office/drawing/2014/main" id="{7EEDD7B5-5BB1-4D63-BB7C-21E9301B68C1}"/>
                  </a:ext>
                </a:extLst>
              </p:cNvPr>
              <p:cNvSpPr/>
              <p:nvPr/>
            </p:nvSpPr>
            <p:spPr>
              <a:xfrm>
                <a:off x="3254406"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Chevron 82">
                <a:extLst>
                  <a:ext uri="{FF2B5EF4-FFF2-40B4-BE49-F238E27FC236}">
                    <a16:creationId xmlns:a16="http://schemas.microsoft.com/office/drawing/2014/main" id="{B1E70A49-FD21-4FE9-8C7D-E39517A60E9C}"/>
                  </a:ext>
                </a:extLst>
              </p:cNvPr>
              <p:cNvSpPr/>
              <p:nvPr/>
            </p:nvSpPr>
            <p:spPr>
              <a:xfrm>
                <a:off x="4020553" y="1717765"/>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Chevron 83">
                <a:extLst>
                  <a:ext uri="{FF2B5EF4-FFF2-40B4-BE49-F238E27FC236}">
                    <a16:creationId xmlns:a16="http://schemas.microsoft.com/office/drawing/2014/main" id="{C0332614-E4F4-437A-816B-7CACFB2F8BC8}"/>
                  </a:ext>
                </a:extLst>
              </p:cNvPr>
              <p:cNvSpPr/>
              <p:nvPr/>
            </p:nvSpPr>
            <p:spPr>
              <a:xfrm>
                <a:off x="4776868" y="1721466"/>
                <a:ext cx="1006276" cy="778333"/>
              </a:xfrm>
              <a:prstGeom prst="chevron">
                <a:avLst/>
              </a:prstGeom>
              <a:solidFill>
                <a:srgbClr val="006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8" name="Rectangle: Rounded Corners 18">
              <a:extLst>
                <a:ext uri="{FF2B5EF4-FFF2-40B4-BE49-F238E27FC236}">
                  <a16:creationId xmlns:a16="http://schemas.microsoft.com/office/drawing/2014/main" id="{93A844A9-9E7B-471E-9AFD-EB13CE3F3D66}"/>
                </a:ext>
              </a:extLst>
            </p:cNvPr>
            <p:cNvSpPr/>
            <p:nvPr/>
          </p:nvSpPr>
          <p:spPr>
            <a:xfrm>
              <a:off x="2628278" y="2073854"/>
              <a:ext cx="3376513" cy="576256"/>
            </a:xfrm>
            <a:prstGeom prst="roundRect">
              <a:avLst/>
            </a:prstGeom>
            <a:solidFill>
              <a:srgbClr val="006EFF"/>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50" b="1" dirty="0">
                  <a:solidFill>
                    <a:prstClr val="white"/>
                  </a:solidFill>
                  <a:latin typeface="Calibri" panose="020F0502020204030204"/>
                </a:rPr>
                <a:t>Record Management</a:t>
              </a: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 Process</a:t>
              </a:r>
            </a:p>
          </p:txBody>
        </p:sp>
      </p:grpSp>
      <p:grpSp>
        <p:nvGrpSpPr>
          <p:cNvPr id="2" name="Group 1">
            <a:extLst>
              <a:ext uri="{FF2B5EF4-FFF2-40B4-BE49-F238E27FC236}">
                <a16:creationId xmlns:a16="http://schemas.microsoft.com/office/drawing/2014/main" id="{3A3C4BEB-58C7-4025-BD62-02ACA60F9F40}"/>
              </a:ext>
            </a:extLst>
          </p:cNvPr>
          <p:cNvGrpSpPr/>
          <p:nvPr/>
        </p:nvGrpSpPr>
        <p:grpSpPr>
          <a:xfrm>
            <a:off x="2150747" y="4730912"/>
            <a:ext cx="8257781" cy="777461"/>
            <a:chOff x="2150747" y="4730912"/>
            <a:chExt cx="8257781" cy="777461"/>
          </a:xfrm>
        </p:grpSpPr>
        <p:sp>
          <p:nvSpPr>
            <p:cNvPr id="17" name="Rectangle: Rounded Corners 16">
              <a:extLst>
                <a:ext uri="{FF2B5EF4-FFF2-40B4-BE49-F238E27FC236}">
                  <a16:creationId xmlns:a16="http://schemas.microsoft.com/office/drawing/2014/main" id="{F14443F2-CA5D-4ED1-BD6C-BE6B26BDD3A9}"/>
                </a:ext>
              </a:extLst>
            </p:cNvPr>
            <p:cNvSpPr/>
            <p:nvPr/>
          </p:nvSpPr>
          <p:spPr>
            <a:xfrm>
              <a:off x="2150747" y="4730912"/>
              <a:ext cx="8257781" cy="777461"/>
            </a:xfrm>
            <a:prstGeom prst="roundRect">
              <a:avLst>
                <a:gd name="adj" fmla="val 14674"/>
              </a:avLst>
            </a:prstGeom>
            <a:solidFill>
              <a:schemeClr val="bg1">
                <a:lumMod val="95000"/>
              </a:schemeClr>
            </a:solidFill>
            <a:ln w="5715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68A56FA-DF15-488A-9A59-04821FBAC3B3}"/>
                </a:ext>
              </a:extLst>
            </p:cNvPr>
            <p:cNvSpPr txBox="1"/>
            <p:nvPr/>
          </p:nvSpPr>
          <p:spPr>
            <a:xfrm>
              <a:off x="2821261" y="4840991"/>
              <a:ext cx="2073029" cy="500253"/>
            </a:xfrm>
            <a:prstGeom prst="rect">
              <a:avLst/>
            </a:prstGeom>
          </p:spPr>
          <p:txBody>
            <a:bodyPr vert="horz" wrap="square" lIns="68580" tIns="34290" rIns="68580" bIns="34290" rtlCol="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2400" dirty="0" err="1">
                  <a:solidFill>
                    <a:prstClr val="black"/>
                  </a:solidFill>
                  <a:latin typeface="Calibri" panose="020F0502020204030204"/>
                </a:rPr>
                <a:t>Dataverse</a:t>
              </a: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tangle: Rounded Corners 18">
              <a:extLst>
                <a:ext uri="{FF2B5EF4-FFF2-40B4-BE49-F238E27FC236}">
                  <a16:creationId xmlns:a16="http://schemas.microsoft.com/office/drawing/2014/main" id="{EB3E3F2F-B37F-4D92-9DA0-5BFCDC7E73FC}"/>
                </a:ext>
              </a:extLst>
            </p:cNvPr>
            <p:cNvSpPr/>
            <p:nvPr/>
          </p:nvSpPr>
          <p:spPr>
            <a:xfrm>
              <a:off x="6913145"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Graphs</a:t>
              </a:r>
            </a:p>
          </p:txBody>
        </p:sp>
        <p:sp>
          <p:nvSpPr>
            <p:cNvPr id="20" name="Rectangle: Rounded Corners 19">
              <a:extLst>
                <a:ext uri="{FF2B5EF4-FFF2-40B4-BE49-F238E27FC236}">
                  <a16:creationId xmlns:a16="http://schemas.microsoft.com/office/drawing/2014/main" id="{F2AF614C-BFCF-449F-885A-CF48B4180654}"/>
                </a:ext>
              </a:extLst>
            </p:cNvPr>
            <p:cNvSpPr/>
            <p:nvPr/>
          </p:nvSpPr>
          <p:spPr>
            <a:xfrm>
              <a:off x="7677455" y="4882391"/>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shboards</a:t>
              </a:r>
            </a:p>
          </p:txBody>
        </p:sp>
        <p:sp>
          <p:nvSpPr>
            <p:cNvPr id="21" name="Database_EFC7" title="Icon of a cylinder">
              <a:extLst>
                <a:ext uri="{FF2B5EF4-FFF2-40B4-BE49-F238E27FC236}">
                  <a16:creationId xmlns:a16="http://schemas.microsoft.com/office/drawing/2014/main" id="{03F02A44-03C1-49B9-801A-AEA303B07095}"/>
                </a:ext>
              </a:extLst>
            </p:cNvPr>
            <p:cNvSpPr/>
            <p:nvPr/>
          </p:nvSpPr>
          <p:spPr>
            <a:xfrm>
              <a:off x="2392488" y="4896627"/>
              <a:ext cx="326024" cy="423783"/>
            </a:xfrm>
            <a:custGeom>
              <a:avLst/>
              <a:gdLst>
                <a:gd name="f0" fmla="val 10800000"/>
                <a:gd name="f1" fmla="val 5400000"/>
                <a:gd name="f2" fmla="val 180"/>
                <a:gd name="f3" fmla="val w"/>
                <a:gd name="f4" fmla="val h"/>
                <a:gd name="f5" fmla="val 0"/>
                <a:gd name="f6" fmla="val 2511"/>
                <a:gd name="f7" fmla="val 3264"/>
                <a:gd name="f8" fmla="val 2470"/>
                <a:gd name="f9" fmla="val 627"/>
                <a:gd name="f10" fmla="val 2762"/>
                <a:gd name="f11" fmla="val 3040"/>
                <a:gd name="f12" fmla="val 1949"/>
                <a:gd name="f13" fmla="val 1255"/>
                <a:gd name="f14" fmla="val 562"/>
                <a:gd name="f15" fmla="val 41"/>
                <a:gd name="f16" fmla="val 844"/>
                <a:gd name="f17" fmla="val 671"/>
                <a:gd name="f18" fmla="val 1004"/>
                <a:gd name="f19" fmla="val 1840"/>
                <a:gd name="f20" fmla="val 2330"/>
                <a:gd name="f21" fmla="val 224"/>
                <a:gd name="f22" fmla="val 502"/>
                <a:gd name="f23" fmla="val 779"/>
                <a:gd name="f24" fmla="+- 0 0 -90"/>
                <a:gd name="f25" fmla="*/ f3 1 2511"/>
                <a:gd name="f26" fmla="*/ f4 1 3264"/>
                <a:gd name="f27" fmla="val f5"/>
                <a:gd name="f28" fmla="val f6"/>
                <a:gd name="f29" fmla="val f7"/>
                <a:gd name="f30" fmla="*/ f24 f0 1"/>
                <a:gd name="f31" fmla="+- f29 0 f27"/>
                <a:gd name="f32" fmla="+- f28 0 f27"/>
                <a:gd name="f33" fmla="*/ f30 1 f2"/>
                <a:gd name="f34" fmla="*/ f32 1 2511"/>
                <a:gd name="f35" fmla="*/ f31 1 3264"/>
                <a:gd name="f36" fmla="*/ 2470 f32 1"/>
                <a:gd name="f37" fmla="*/ 627 f31 1"/>
                <a:gd name="f38" fmla="*/ 2511 f32 1"/>
                <a:gd name="f39" fmla="*/ 2762 f31 1"/>
                <a:gd name="f40" fmla="*/ 1255 f32 1"/>
                <a:gd name="f41" fmla="*/ 3264 f31 1"/>
                <a:gd name="f42" fmla="*/ 0 f32 1"/>
                <a:gd name="f43" fmla="*/ 41 f32 1"/>
                <a:gd name="f44" fmla="*/ 1004 f31 1"/>
                <a:gd name="f45" fmla="*/ 0 f31 1"/>
                <a:gd name="f46" fmla="*/ 502 f31 1"/>
                <a:gd name="f47" fmla="+- f33 0 f1"/>
                <a:gd name="f48" fmla="*/ f36 1 2511"/>
                <a:gd name="f49" fmla="*/ f37 1 3264"/>
                <a:gd name="f50" fmla="*/ f38 1 2511"/>
                <a:gd name="f51" fmla="*/ f39 1 3264"/>
                <a:gd name="f52" fmla="*/ f40 1 2511"/>
                <a:gd name="f53" fmla="*/ f41 1 3264"/>
                <a:gd name="f54" fmla="*/ f42 1 2511"/>
                <a:gd name="f55" fmla="*/ f43 1 2511"/>
                <a:gd name="f56" fmla="*/ f44 1 3264"/>
                <a:gd name="f57" fmla="*/ f45 1 3264"/>
                <a:gd name="f58" fmla="*/ f46 1 3264"/>
                <a:gd name="f59" fmla="*/ 0 1 f34"/>
                <a:gd name="f60" fmla="*/ f28 1 f34"/>
                <a:gd name="f61" fmla="*/ 0 1 f35"/>
                <a:gd name="f62" fmla="*/ f29 1 f35"/>
                <a:gd name="f63" fmla="*/ f48 1 f34"/>
                <a:gd name="f64" fmla="*/ f49 1 f35"/>
                <a:gd name="f65" fmla="*/ f50 1 f34"/>
                <a:gd name="f66" fmla="*/ f51 1 f35"/>
                <a:gd name="f67" fmla="*/ f52 1 f34"/>
                <a:gd name="f68" fmla="*/ f53 1 f35"/>
                <a:gd name="f69" fmla="*/ f54 1 f34"/>
                <a:gd name="f70" fmla="*/ f55 1 f34"/>
                <a:gd name="f71" fmla="*/ f56 1 f35"/>
                <a:gd name="f72" fmla="*/ f57 1 f35"/>
                <a:gd name="f73" fmla="*/ f58 1 f35"/>
                <a:gd name="f74" fmla="*/ f59 f25 1"/>
                <a:gd name="f75" fmla="*/ f60 f25 1"/>
                <a:gd name="f76" fmla="*/ f62 f26 1"/>
                <a:gd name="f77" fmla="*/ f61 f26 1"/>
                <a:gd name="f78" fmla="*/ f63 f25 1"/>
                <a:gd name="f79" fmla="*/ f64 f26 1"/>
                <a:gd name="f80" fmla="*/ f65 f25 1"/>
                <a:gd name="f81" fmla="*/ f66 f26 1"/>
                <a:gd name="f82" fmla="*/ f67 f25 1"/>
                <a:gd name="f83" fmla="*/ f68 f26 1"/>
                <a:gd name="f84" fmla="*/ f69 f25 1"/>
                <a:gd name="f85" fmla="*/ f70 f25 1"/>
                <a:gd name="f86" fmla="*/ f71 f26 1"/>
                <a:gd name="f87" fmla="*/ f72 f26 1"/>
                <a:gd name="f88" fmla="*/ f73 f26 1"/>
              </a:gdLst>
              <a:ahLst/>
              <a:cxnLst>
                <a:cxn ang="3cd4">
                  <a:pos x="hc" y="t"/>
                </a:cxn>
                <a:cxn ang="0">
                  <a:pos x="r" y="vc"/>
                </a:cxn>
                <a:cxn ang="cd4">
                  <a:pos x="hc" y="b"/>
                </a:cxn>
                <a:cxn ang="cd2">
                  <a:pos x="l" y="vc"/>
                </a:cxn>
                <a:cxn ang="f47">
                  <a:pos x="f78" y="f79"/>
                </a:cxn>
                <a:cxn ang="f47">
                  <a:pos x="f80" y="f79"/>
                </a:cxn>
                <a:cxn ang="f47">
                  <a:pos x="f80" y="f81"/>
                </a:cxn>
                <a:cxn ang="f47">
                  <a:pos x="f82" y="f83"/>
                </a:cxn>
                <a:cxn ang="f47">
                  <a:pos x="f84" y="f81"/>
                </a:cxn>
                <a:cxn ang="f47">
                  <a:pos x="f84" y="f79"/>
                </a:cxn>
                <a:cxn ang="f47">
                  <a:pos x="f85" y="f79"/>
                </a:cxn>
                <a:cxn ang="f47">
                  <a:pos x="f82" y="f86"/>
                </a:cxn>
                <a:cxn ang="f47">
                  <a:pos x="f78" y="f79"/>
                </a:cxn>
                <a:cxn ang="f47">
                  <a:pos x="f82" y="f87"/>
                </a:cxn>
                <a:cxn ang="f47">
                  <a:pos x="f84" y="f88"/>
                </a:cxn>
                <a:cxn ang="f47">
                  <a:pos x="f82" y="f86"/>
                </a:cxn>
                <a:cxn ang="f47">
                  <a:pos x="f80" y="f88"/>
                </a:cxn>
                <a:cxn ang="f47">
                  <a:pos x="f82" y="f87"/>
                </a:cxn>
              </a:cxnLst>
              <a:rect l="f74" t="f77" r="f75" b="f76"/>
              <a:pathLst>
                <a:path w="2511" h="3264">
                  <a:moveTo>
                    <a:pt x="f8" y="f9"/>
                  </a:moveTo>
                  <a:cubicBezTo>
                    <a:pt x="f6" y="f9"/>
                    <a:pt x="f6" y="f9"/>
                    <a:pt x="f6" y="f9"/>
                  </a:cubicBezTo>
                  <a:cubicBezTo>
                    <a:pt x="f6" y="f10"/>
                    <a:pt x="f6" y="f10"/>
                    <a:pt x="f6" y="f10"/>
                  </a:cubicBezTo>
                  <a:cubicBezTo>
                    <a:pt x="f6" y="f11"/>
                    <a:pt x="f12" y="f7"/>
                    <a:pt x="f13" y="f7"/>
                  </a:cubicBezTo>
                  <a:cubicBezTo>
                    <a:pt x="f14" y="f7"/>
                    <a:pt x="f5" y="f11"/>
                    <a:pt x="f5" y="f10"/>
                  </a:cubicBezTo>
                  <a:cubicBezTo>
                    <a:pt x="f5" y="f9"/>
                    <a:pt x="f5" y="f9"/>
                    <a:pt x="f5" y="f9"/>
                  </a:cubicBezTo>
                  <a:cubicBezTo>
                    <a:pt x="f15" y="f9"/>
                    <a:pt x="f15" y="f9"/>
                    <a:pt x="f15" y="f9"/>
                  </a:cubicBezTo>
                  <a:cubicBezTo>
                    <a:pt x="f2" y="f16"/>
                    <a:pt x="f17" y="f18"/>
                    <a:pt x="f13" y="f18"/>
                  </a:cubicBezTo>
                  <a:cubicBezTo>
                    <a:pt x="f19" y="f18"/>
                    <a:pt x="f20" y="f16"/>
                    <a:pt x="f8" y="f9"/>
                  </a:cubicBezTo>
                  <a:close/>
                  <a:moveTo>
                    <a:pt x="f13" y="f5"/>
                  </a:moveTo>
                  <a:cubicBezTo>
                    <a:pt x="f14" y="f5"/>
                    <a:pt x="f5" y="f21"/>
                    <a:pt x="f5" y="f22"/>
                  </a:cubicBezTo>
                  <a:cubicBezTo>
                    <a:pt x="f5" y="f23"/>
                    <a:pt x="f14" y="f18"/>
                    <a:pt x="f13" y="f18"/>
                  </a:cubicBezTo>
                  <a:cubicBezTo>
                    <a:pt x="f12" y="f18"/>
                    <a:pt x="f6" y="f23"/>
                    <a:pt x="f6" y="f22"/>
                  </a:cubicBezTo>
                  <a:cubicBezTo>
                    <a:pt x="f6" y="f21"/>
                    <a:pt x="f12" y="f5"/>
                    <a:pt x="f13" y="f5"/>
                  </a:cubicBezTo>
                  <a:close/>
                </a:path>
              </a:pathLst>
            </a:custGeom>
            <a:noFill/>
            <a:ln w="19046" cap="sq">
              <a:solidFill>
                <a:srgbClr val="282828"/>
              </a:solidFill>
              <a:prstDash val="solid"/>
              <a:miter/>
            </a:ln>
          </p:spPr>
          <p:txBody>
            <a:bodyPr vert="horz" wrap="square" lIns="64595" tIns="32301" rIns="64595" bIns="32301" anchor="ctr" anchorCtr="1" compatLnSpc="1">
              <a:noAutofit/>
            </a:bodyPr>
            <a:lstStyle/>
            <a:p>
              <a:pPr marL="0" marR="0" lvl="0" indent="0" algn="ctr" defTabSz="64592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13DC5524-A0BE-468C-93DE-5ADCEFC056E5}"/>
                </a:ext>
              </a:extLst>
            </p:cNvPr>
            <p:cNvSpPr/>
            <p:nvPr/>
          </p:nvSpPr>
          <p:spPr>
            <a:xfrm>
              <a:off x="5374371" y="4884413"/>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sp>
          <p:nvSpPr>
            <p:cNvPr id="24" name="Rectangle: Rounded Corners 23">
              <a:extLst>
                <a:ext uri="{FF2B5EF4-FFF2-40B4-BE49-F238E27FC236}">
                  <a16:creationId xmlns:a16="http://schemas.microsoft.com/office/drawing/2014/main" id="{81628576-0ED1-41D1-984B-FA59B25E542D}"/>
                </a:ext>
              </a:extLst>
            </p:cNvPr>
            <p:cNvSpPr/>
            <p:nvPr/>
          </p:nvSpPr>
          <p:spPr>
            <a:xfrm>
              <a:off x="4620212" y="4882391"/>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Custom Entity</a:t>
              </a:r>
            </a:p>
          </p:txBody>
        </p:sp>
        <p:sp>
          <p:nvSpPr>
            <p:cNvPr id="51" name="Rectangle: Rounded Corners 50">
              <a:extLst>
                <a:ext uri="{FF2B5EF4-FFF2-40B4-BE49-F238E27FC236}">
                  <a16:creationId xmlns:a16="http://schemas.microsoft.com/office/drawing/2014/main" id="{52D72DDF-6DD9-4D75-BCD5-A4280149BC09}"/>
                </a:ext>
              </a:extLst>
            </p:cNvPr>
            <p:cNvSpPr/>
            <p:nvPr/>
          </p:nvSpPr>
          <p:spPr>
            <a:xfrm>
              <a:off x="8548157" y="4877809"/>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Forms</a:t>
              </a:r>
            </a:p>
          </p:txBody>
        </p:sp>
        <p:sp>
          <p:nvSpPr>
            <p:cNvPr id="53" name="Rectangle: Rounded Corners 52">
              <a:extLst>
                <a:ext uri="{FF2B5EF4-FFF2-40B4-BE49-F238E27FC236}">
                  <a16:creationId xmlns:a16="http://schemas.microsoft.com/office/drawing/2014/main" id="{4AFE4B79-1F75-4D08-982C-FD4D77D6EA98}"/>
                </a:ext>
              </a:extLst>
            </p:cNvPr>
            <p:cNvSpPr/>
            <p:nvPr/>
          </p:nvSpPr>
          <p:spPr>
            <a:xfrm>
              <a:off x="6148835" y="4884264"/>
              <a:ext cx="676019"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rPr>
                <a:t>Views</a:t>
              </a:r>
            </a:p>
          </p:txBody>
        </p:sp>
        <p:sp>
          <p:nvSpPr>
            <p:cNvPr id="49" name="Rectangle: Rounded Corners 48">
              <a:extLst>
                <a:ext uri="{FF2B5EF4-FFF2-40B4-BE49-F238E27FC236}">
                  <a16:creationId xmlns:a16="http://schemas.microsoft.com/office/drawing/2014/main" id="{5DA0162B-6005-4095-A0D2-8F3177535B8D}"/>
                </a:ext>
              </a:extLst>
            </p:cNvPr>
            <p:cNvSpPr/>
            <p:nvPr/>
          </p:nvSpPr>
          <p:spPr>
            <a:xfrm>
              <a:off x="9435882" y="4869275"/>
              <a:ext cx="782411" cy="424079"/>
            </a:xfrm>
            <a:prstGeom prst="roundRect">
              <a:avLst/>
            </a:prstGeom>
            <a:solidFill>
              <a:schemeClr val="bg1">
                <a:lumMod val="50000"/>
              </a:schemeClr>
            </a:solidFill>
            <a:ln w="38100">
              <a:solidFill>
                <a:srgbClr val="74277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prstClr val="white"/>
                  </a:solidFill>
                  <a:latin typeface="Calibri" panose="020F0502020204030204"/>
                </a:rPr>
                <a:t>AI Builder</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3131442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AC48B-0406-458D-BAEB-406C6A43FA08}"/>
              </a:ext>
            </a:extLst>
          </p:cNvPr>
          <p:cNvSpPr>
            <a:spLocks noGrp="1"/>
          </p:cNvSpPr>
          <p:nvPr>
            <p:ph type="title"/>
          </p:nvPr>
        </p:nvSpPr>
        <p:spPr/>
        <p:txBody>
          <a:bodyPr/>
          <a:lstStyle/>
          <a:p>
            <a:r>
              <a:rPr lang="en-GB" dirty="0"/>
              <a:t>Todays Agenda (Virtual)</a:t>
            </a:r>
          </a:p>
        </p:txBody>
      </p:sp>
      <p:graphicFrame>
        <p:nvGraphicFramePr>
          <p:cNvPr id="4" name="Table 4">
            <a:extLst>
              <a:ext uri="{FF2B5EF4-FFF2-40B4-BE49-F238E27FC236}">
                <a16:creationId xmlns:a16="http://schemas.microsoft.com/office/drawing/2014/main" id="{0FF57792-0DC5-419E-9F50-EBA5DAD1FF8C}"/>
              </a:ext>
            </a:extLst>
          </p:cNvPr>
          <p:cNvGraphicFramePr>
            <a:graphicFrameLocks noGrp="1"/>
          </p:cNvGraphicFramePr>
          <p:nvPr/>
        </p:nvGraphicFramePr>
        <p:xfrm>
          <a:off x="838200" y="1969363"/>
          <a:ext cx="10515600" cy="4079240"/>
        </p:xfrm>
        <a:graphic>
          <a:graphicData uri="http://schemas.openxmlformats.org/drawingml/2006/table">
            <a:tbl>
              <a:tblPr firstRow="1" bandRow="1">
                <a:tableStyleId>{5C22544A-7EE6-4342-B048-85BDC9FD1C3A}</a:tableStyleId>
              </a:tblPr>
              <a:tblGrid>
                <a:gridCol w="2012986">
                  <a:extLst>
                    <a:ext uri="{9D8B030D-6E8A-4147-A177-3AD203B41FA5}">
                      <a16:colId xmlns:a16="http://schemas.microsoft.com/office/drawing/2014/main" val="1637431433"/>
                    </a:ext>
                  </a:extLst>
                </a:gridCol>
                <a:gridCol w="5734740">
                  <a:extLst>
                    <a:ext uri="{9D8B030D-6E8A-4147-A177-3AD203B41FA5}">
                      <a16:colId xmlns:a16="http://schemas.microsoft.com/office/drawing/2014/main" val="2700971428"/>
                    </a:ext>
                  </a:extLst>
                </a:gridCol>
                <a:gridCol w="2767874">
                  <a:extLst>
                    <a:ext uri="{9D8B030D-6E8A-4147-A177-3AD203B41FA5}">
                      <a16:colId xmlns:a16="http://schemas.microsoft.com/office/drawing/2014/main" val="2070233388"/>
                    </a:ext>
                  </a:extLst>
                </a:gridCol>
              </a:tblGrid>
              <a:tr h="370840">
                <a:tc>
                  <a:txBody>
                    <a:bodyPr/>
                    <a:lstStyle/>
                    <a:p>
                      <a:r>
                        <a:rPr lang="en-GB" dirty="0"/>
                        <a:t>Time</a:t>
                      </a:r>
                    </a:p>
                  </a:txBody>
                  <a:tcPr/>
                </a:tc>
                <a:tc>
                  <a:txBody>
                    <a:bodyPr/>
                    <a:lstStyle/>
                    <a:p>
                      <a:r>
                        <a:rPr lang="en-GB" dirty="0"/>
                        <a:t>Session</a:t>
                      </a:r>
                    </a:p>
                  </a:txBody>
                  <a:tcPr/>
                </a:tc>
                <a:tc>
                  <a:txBody>
                    <a:bodyPr/>
                    <a:lstStyle/>
                    <a:p>
                      <a:r>
                        <a:rPr lang="en-GB" dirty="0"/>
                        <a:t>Presenter</a:t>
                      </a:r>
                    </a:p>
                  </a:txBody>
                  <a:tcPr/>
                </a:tc>
                <a:extLst>
                  <a:ext uri="{0D108BD9-81ED-4DB2-BD59-A6C34878D82A}">
                    <a16:rowId xmlns:a16="http://schemas.microsoft.com/office/drawing/2014/main" val="850742803"/>
                  </a:ext>
                </a:extLst>
              </a:tr>
              <a:tr h="370840">
                <a:tc>
                  <a:txBody>
                    <a:bodyPr/>
                    <a:lstStyle/>
                    <a:p>
                      <a:r>
                        <a:rPr lang="en-GB" dirty="0"/>
                        <a:t>10:00 – 10: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troduction to </a:t>
                      </a:r>
                      <a:r>
                        <a:rPr lang="en-GB" dirty="0" err="1"/>
                        <a:t>Hack@Speed</a:t>
                      </a:r>
                      <a:endParaRPr lang="en-GB" dirty="0"/>
                    </a:p>
                  </a:txBody>
                  <a:tcPr/>
                </a:tc>
                <a:tc>
                  <a:txBody>
                    <a:bodyPr/>
                    <a:lstStyle/>
                    <a:p>
                      <a:endParaRPr lang="en-GB"/>
                    </a:p>
                  </a:txBody>
                  <a:tcPr/>
                </a:tc>
                <a:extLst>
                  <a:ext uri="{0D108BD9-81ED-4DB2-BD59-A6C34878D82A}">
                    <a16:rowId xmlns:a16="http://schemas.microsoft.com/office/drawing/2014/main" val="1252266229"/>
                  </a:ext>
                </a:extLst>
              </a:tr>
              <a:tr h="370840">
                <a:tc>
                  <a:txBody>
                    <a:bodyPr/>
                    <a:lstStyle/>
                    <a:p>
                      <a:r>
                        <a:rPr lang="en-GB" dirty="0"/>
                        <a:t>10:15 – 10:5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ower Platform Introduction</a:t>
                      </a:r>
                    </a:p>
                  </a:txBody>
                  <a:tcPr/>
                </a:tc>
                <a:tc>
                  <a:txBody>
                    <a:bodyPr/>
                    <a:lstStyle/>
                    <a:p>
                      <a:endParaRPr lang="en-GB"/>
                    </a:p>
                  </a:txBody>
                  <a:tcPr/>
                </a:tc>
                <a:extLst>
                  <a:ext uri="{0D108BD9-81ED-4DB2-BD59-A6C34878D82A}">
                    <a16:rowId xmlns:a16="http://schemas.microsoft.com/office/drawing/2014/main" val="4186340680"/>
                  </a:ext>
                </a:extLst>
              </a:tr>
              <a:tr h="370840">
                <a:tc>
                  <a:txBody>
                    <a:bodyPr/>
                    <a:lstStyle/>
                    <a:p>
                      <a:r>
                        <a:rPr lang="en-GB" dirty="0"/>
                        <a:t>10:50 – 11:00</a:t>
                      </a:r>
                    </a:p>
                  </a:txBody>
                  <a:tcPr/>
                </a:tc>
                <a:tc>
                  <a:txBody>
                    <a:bodyPr/>
                    <a:lstStyle/>
                    <a:p>
                      <a:r>
                        <a:rPr lang="en-GB" dirty="0"/>
                        <a:t>BREAK</a:t>
                      </a:r>
                    </a:p>
                  </a:txBody>
                  <a:tcPr/>
                </a:tc>
                <a:tc>
                  <a:txBody>
                    <a:bodyPr/>
                    <a:lstStyle/>
                    <a:p>
                      <a:endParaRPr lang="en-GB"/>
                    </a:p>
                  </a:txBody>
                  <a:tcPr/>
                </a:tc>
                <a:extLst>
                  <a:ext uri="{0D108BD9-81ED-4DB2-BD59-A6C34878D82A}">
                    <a16:rowId xmlns:a16="http://schemas.microsoft.com/office/drawing/2014/main" val="3005682549"/>
                  </a:ext>
                </a:extLst>
              </a:tr>
              <a:tr h="370840">
                <a:tc>
                  <a:txBody>
                    <a:bodyPr/>
                    <a:lstStyle/>
                    <a:p>
                      <a:r>
                        <a:rPr lang="en-GB" dirty="0"/>
                        <a:t>11:00 – 11: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ower Platform Demonstration</a:t>
                      </a:r>
                    </a:p>
                  </a:txBody>
                  <a:tcPr/>
                </a:tc>
                <a:tc>
                  <a:txBody>
                    <a:bodyPr/>
                    <a:lstStyle/>
                    <a:p>
                      <a:endParaRPr lang="en-GB"/>
                    </a:p>
                  </a:txBody>
                  <a:tcPr/>
                </a:tc>
                <a:extLst>
                  <a:ext uri="{0D108BD9-81ED-4DB2-BD59-A6C34878D82A}">
                    <a16:rowId xmlns:a16="http://schemas.microsoft.com/office/drawing/2014/main" val="2930929541"/>
                  </a:ext>
                </a:extLst>
              </a:tr>
              <a:tr h="370840">
                <a:tc>
                  <a:txBody>
                    <a:bodyPr/>
                    <a:lstStyle/>
                    <a:p>
                      <a:r>
                        <a:rPr lang="en-GB" dirty="0"/>
                        <a:t>11:30 – 11:4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ules of Engagement</a:t>
                      </a:r>
                    </a:p>
                  </a:txBody>
                  <a:tcPr/>
                </a:tc>
                <a:tc>
                  <a:txBody>
                    <a:bodyPr/>
                    <a:lstStyle/>
                    <a:p>
                      <a:endParaRPr lang="en-GB"/>
                    </a:p>
                  </a:txBody>
                  <a:tcPr/>
                </a:tc>
                <a:extLst>
                  <a:ext uri="{0D108BD9-81ED-4DB2-BD59-A6C34878D82A}">
                    <a16:rowId xmlns:a16="http://schemas.microsoft.com/office/drawing/2014/main" val="368634983"/>
                  </a:ext>
                </a:extLst>
              </a:tr>
              <a:tr h="370840">
                <a:tc>
                  <a:txBody>
                    <a:bodyPr/>
                    <a:lstStyle/>
                    <a:p>
                      <a:r>
                        <a:rPr lang="en-GB" dirty="0"/>
                        <a:t>11:45 – 12: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Use Cases</a:t>
                      </a:r>
                    </a:p>
                  </a:txBody>
                  <a:tcPr/>
                </a:tc>
                <a:tc>
                  <a:txBody>
                    <a:bodyPr/>
                    <a:lstStyle/>
                    <a:p>
                      <a:endParaRPr lang="en-GB"/>
                    </a:p>
                  </a:txBody>
                  <a:tcPr/>
                </a:tc>
                <a:extLst>
                  <a:ext uri="{0D108BD9-81ED-4DB2-BD59-A6C34878D82A}">
                    <a16:rowId xmlns:a16="http://schemas.microsoft.com/office/drawing/2014/main" val="3846815003"/>
                  </a:ext>
                </a:extLst>
              </a:tr>
              <a:tr h="370840">
                <a:tc>
                  <a:txBody>
                    <a:bodyPr/>
                    <a:lstStyle/>
                    <a:p>
                      <a:r>
                        <a:rPr lang="en-GB" dirty="0"/>
                        <a:t>12:00 – 12:30</a:t>
                      </a:r>
                    </a:p>
                  </a:txBody>
                  <a:tcPr/>
                </a:tc>
                <a:tc>
                  <a:txBody>
                    <a:bodyPr/>
                    <a:lstStyle/>
                    <a:p>
                      <a:r>
                        <a:rPr lang="en-GB" dirty="0"/>
                        <a:t>LUNCH</a:t>
                      </a:r>
                    </a:p>
                  </a:txBody>
                  <a:tcPr/>
                </a:tc>
                <a:tc>
                  <a:txBody>
                    <a:bodyPr/>
                    <a:lstStyle/>
                    <a:p>
                      <a:endParaRPr lang="en-GB" dirty="0"/>
                    </a:p>
                  </a:txBody>
                  <a:tcPr/>
                </a:tc>
                <a:extLst>
                  <a:ext uri="{0D108BD9-81ED-4DB2-BD59-A6C34878D82A}">
                    <a16:rowId xmlns:a16="http://schemas.microsoft.com/office/drawing/2014/main" val="506968574"/>
                  </a:ext>
                </a:extLst>
              </a:tr>
              <a:tr h="370840">
                <a:tc>
                  <a:txBody>
                    <a:bodyPr/>
                    <a:lstStyle/>
                    <a:p>
                      <a:r>
                        <a:rPr lang="en-GB" dirty="0"/>
                        <a:t>12:30 – 16:00</a:t>
                      </a:r>
                    </a:p>
                  </a:txBody>
                  <a:tcPr/>
                </a:tc>
                <a:tc>
                  <a:txBody>
                    <a:bodyPr/>
                    <a:lstStyle/>
                    <a:p>
                      <a:r>
                        <a:rPr lang="en-GB" dirty="0"/>
                        <a:t>Hackathon</a:t>
                      </a:r>
                    </a:p>
                  </a:txBody>
                  <a:tcPr/>
                </a:tc>
                <a:tc>
                  <a:txBody>
                    <a:bodyPr/>
                    <a:lstStyle/>
                    <a:p>
                      <a:endParaRPr lang="en-GB" dirty="0"/>
                    </a:p>
                  </a:txBody>
                  <a:tcPr/>
                </a:tc>
                <a:extLst>
                  <a:ext uri="{0D108BD9-81ED-4DB2-BD59-A6C34878D82A}">
                    <a16:rowId xmlns:a16="http://schemas.microsoft.com/office/drawing/2014/main" val="2199328892"/>
                  </a:ext>
                </a:extLst>
              </a:tr>
              <a:tr h="370840">
                <a:tc>
                  <a:txBody>
                    <a:bodyPr/>
                    <a:lstStyle/>
                    <a:p>
                      <a:r>
                        <a:rPr lang="en-GB" dirty="0"/>
                        <a:t>16:00 – 16:30</a:t>
                      </a:r>
                    </a:p>
                  </a:txBody>
                  <a:tcPr/>
                </a:tc>
                <a:tc>
                  <a:txBody>
                    <a:bodyPr/>
                    <a:lstStyle/>
                    <a:p>
                      <a:r>
                        <a:rPr lang="en-GB" dirty="0"/>
                        <a:t>Presentations</a:t>
                      </a:r>
                    </a:p>
                  </a:txBody>
                  <a:tcPr/>
                </a:tc>
                <a:tc>
                  <a:txBody>
                    <a:bodyPr/>
                    <a:lstStyle/>
                    <a:p>
                      <a:endParaRPr lang="en-GB" dirty="0"/>
                    </a:p>
                  </a:txBody>
                  <a:tcPr/>
                </a:tc>
                <a:extLst>
                  <a:ext uri="{0D108BD9-81ED-4DB2-BD59-A6C34878D82A}">
                    <a16:rowId xmlns:a16="http://schemas.microsoft.com/office/drawing/2014/main" val="2943510346"/>
                  </a:ext>
                </a:extLst>
              </a:tr>
              <a:tr h="370840">
                <a:tc>
                  <a:txBody>
                    <a:bodyPr/>
                    <a:lstStyle/>
                    <a:p>
                      <a:r>
                        <a:rPr lang="en-GB" dirty="0"/>
                        <a:t>16:30 – 17:00</a:t>
                      </a:r>
                    </a:p>
                  </a:txBody>
                  <a:tcPr/>
                </a:tc>
                <a:tc>
                  <a:txBody>
                    <a:bodyPr/>
                    <a:lstStyle/>
                    <a:p>
                      <a:r>
                        <a:rPr lang="en-GB" dirty="0"/>
                        <a:t>Judging &amp; Wrap-up</a:t>
                      </a:r>
                    </a:p>
                  </a:txBody>
                  <a:tcPr/>
                </a:tc>
                <a:tc>
                  <a:txBody>
                    <a:bodyPr/>
                    <a:lstStyle/>
                    <a:p>
                      <a:endParaRPr lang="en-GB" dirty="0"/>
                    </a:p>
                  </a:txBody>
                  <a:tcPr/>
                </a:tc>
                <a:extLst>
                  <a:ext uri="{0D108BD9-81ED-4DB2-BD59-A6C34878D82A}">
                    <a16:rowId xmlns:a16="http://schemas.microsoft.com/office/drawing/2014/main" val="303375220"/>
                  </a:ext>
                </a:extLst>
              </a:tr>
            </a:tbl>
          </a:graphicData>
        </a:graphic>
      </p:graphicFrame>
    </p:spTree>
    <p:extLst>
      <p:ext uri="{BB962C8B-B14F-4D97-AF65-F5344CB8AC3E}">
        <p14:creationId xmlns:p14="http://schemas.microsoft.com/office/powerpoint/2010/main" val="288112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AC48B-0406-458D-BAEB-406C6A43FA08}"/>
              </a:ext>
            </a:extLst>
          </p:cNvPr>
          <p:cNvSpPr>
            <a:spLocks noGrp="1"/>
          </p:cNvSpPr>
          <p:nvPr>
            <p:ph type="title"/>
          </p:nvPr>
        </p:nvSpPr>
        <p:spPr/>
        <p:txBody>
          <a:bodyPr/>
          <a:lstStyle/>
          <a:p>
            <a:r>
              <a:rPr lang="en-GB" dirty="0"/>
              <a:t>Todays Agenda (Virtual)</a:t>
            </a:r>
          </a:p>
        </p:txBody>
      </p:sp>
      <p:graphicFrame>
        <p:nvGraphicFramePr>
          <p:cNvPr id="4" name="Table 4">
            <a:extLst>
              <a:ext uri="{FF2B5EF4-FFF2-40B4-BE49-F238E27FC236}">
                <a16:creationId xmlns:a16="http://schemas.microsoft.com/office/drawing/2014/main" id="{0FF57792-0DC5-419E-9F50-EBA5DAD1FF8C}"/>
              </a:ext>
            </a:extLst>
          </p:cNvPr>
          <p:cNvGraphicFramePr>
            <a:graphicFrameLocks noGrp="1"/>
          </p:cNvGraphicFramePr>
          <p:nvPr>
            <p:extLst>
              <p:ext uri="{D42A27DB-BD31-4B8C-83A1-F6EECF244321}">
                <p14:modId xmlns:p14="http://schemas.microsoft.com/office/powerpoint/2010/main" val="2069132200"/>
              </p:ext>
            </p:extLst>
          </p:nvPr>
        </p:nvGraphicFramePr>
        <p:xfrm>
          <a:off x="838200" y="1904817"/>
          <a:ext cx="10515600" cy="3708400"/>
        </p:xfrm>
        <a:graphic>
          <a:graphicData uri="http://schemas.openxmlformats.org/drawingml/2006/table">
            <a:tbl>
              <a:tblPr firstRow="1" bandRow="1">
                <a:tableStyleId>{5C22544A-7EE6-4342-B048-85BDC9FD1C3A}</a:tableStyleId>
              </a:tblPr>
              <a:tblGrid>
                <a:gridCol w="2012986">
                  <a:extLst>
                    <a:ext uri="{9D8B030D-6E8A-4147-A177-3AD203B41FA5}">
                      <a16:colId xmlns:a16="http://schemas.microsoft.com/office/drawing/2014/main" val="1637431433"/>
                    </a:ext>
                  </a:extLst>
                </a:gridCol>
                <a:gridCol w="5734740">
                  <a:extLst>
                    <a:ext uri="{9D8B030D-6E8A-4147-A177-3AD203B41FA5}">
                      <a16:colId xmlns:a16="http://schemas.microsoft.com/office/drawing/2014/main" val="2700971428"/>
                    </a:ext>
                  </a:extLst>
                </a:gridCol>
                <a:gridCol w="2767874">
                  <a:extLst>
                    <a:ext uri="{9D8B030D-6E8A-4147-A177-3AD203B41FA5}">
                      <a16:colId xmlns:a16="http://schemas.microsoft.com/office/drawing/2014/main" val="2070233388"/>
                    </a:ext>
                  </a:extLst>
                </a:gridCol>
              </a:tblGrid>
              <a:tr h="370840">
                <a:tc>
                  <a:txBody>
                    <a:bodyPr/>
                    <a:lstStyle/>
                    <a:p>
                      <a:r>
                        <a:rPr lang="en-GB" dirty="0"/>
                        <a:t>Time</a:t>
                      </a:r>
                    </a:p>
                  </a:txBody>
                  <a:tcPr/>
                </a:tc>
                <a:tc>
                  <a:txBody>
                    <a:bodyPr/>
                    <a:lstStyle/>
                    <a:p>
                      <a:r>
                        <a:rPr lang="en-GB" dirty="0"/>
                        <a:t>Session</a:t>
                      </a:r>
                    </a:p>
                  </a:txBody>
                  <a:tcPr/>
                </a:tc>
                <a:tc>
                  <a:txBody>
                    <a:bodyPr/>
                    <a:lstStyle/>
                    <a:p>
                      <a:r>
                        <a:rPr lang="en-GB" dirty="0"/>
                        <a:t>Presenter</a:t>
                      </a:r>
                    </a:p>
                  </a:txBody>
                  <a:tcPr/>
                </a:tc>
                <a:extLst>
                  <a:ext uri="{0D108BD9-81ED-4DB2-BD59-A6C34878D82A}">
                    <a16:rowId xmlns:a16="http://schemas.microsoft.com/office/drawing/2014/main" val="850742803"/>
                  </a:ext>
                </a:extLst>
              </a:tr>
              <a:tr h="370840">
                <a:tc>
                  <a:txBody>
                    <a:bodyPr/>
                    <a:lstStyle/>
                    <a:p>
                      <a:r>
                        <a:rPr lang="en-GB" dirty="0"/>
                        <a:t>11:00 – 11: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troduction to </a:t>
                      </a:r>
                      <a:r>
                        <a:rPr lang="en-GB" dirty="0" err="1"/>
                        <a:t>Hack@Speed</a:t>
                      </a:r>
                      <a:endParaRPr lang="en-GB" dirty="0"/>
                    </a:p>
                  </a:txBody>
                  <a:tcPr/>
                </a:tc>
                <a:tc>
                  <a:txBody>
                    <a:bodyPr/>
                    <a:lstStyle/>
                    <a:p>
                      <a:endParaRPr lang="en-GB"/>
                    </a:p>
                  </a:txBody>
                  <a:tcPr/>
                </a:tc>
                <a:extLst>
                  <a:ext uri="{0D108BD9-81ED-4DB2-BD59-A6C34878D82A}">
                    <a16:rowId xmlns:a16="http://schemas.microsoft.com/office/drawing/2014/main" val="1252266229"/>
                  </a:ext>
                </a:extLst>
              </a:tr>
              <a:tr h="370840">
                <a:tc>
                  <a:txBody>
                    <a:bodyPr/>
                    <a:lstStyle/>
                    <a:p>
                      <a:r>
                        <a:rPr lang="en-GB" dirty="0"/>
                        <a:t>11:15 – 11:5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ower Platform Introduction</a:t>
                      </a:r>
                    </a:p>
                  </a:txBody>
                  <a:tcPr/>
                </a:tc>
                <a:tc>
                  <a:txBody>
                    <a:bodyPr/>
                    <a:lstStyle/>
                    <a:p>
                      <a:endParaRPr lang="en-GB"/>
                    </a:p>
                  </a:txBody>
                  <a:tcPr/>
                </a:tc>
                <a:extLst>
                  <a:ext uri="{0D108BD9-81ED-4DB2-BD59-A6C34878D82A}">
                    <a16:rowId xmlns:a16="http://schemas.microsoft.com/office/drawing/2014/main" val="4186340680"/>
                  </a:ext>
                </a:extLst>
              </a:tr>
              <a:tr h="370840">
                <a:tc>
                  <a:txBody>
                    <a:bodyPr/>
                    <a:lstStyle/>
                    <a:p>
                      <a:r>
                        <a:rPr lang="en-GB" dirty="0"/>
                        <a:t>11:50 – 12:00</a:t>
                      </a:r>
                    </a:p>
                  </a:txBody>
                  <a:tcPr/>
                </a:tc>
                <a:tc>
                  <a:txBody>
                    <a:bodyPr/>
                    <a:lstStyle/>
                    <a:p>
                      <a:r>
                        <a:rPr lang="en-GB" dirty="0"/>
                        <a:t>BREAK</a:t>
                      </a:r>
                    </a:p>
                  </a:txBody>
                  <a:tcPr/>
                </a:tc>
                <a:tc>
                  <a:txBody>
                    <a:bodyPr/>
                    <a:lstStyle/>
                    <a:p>
                      <a:endParaRPr lang="en-GB"/>
                    </a:p>
                  </a:txBody>
                  <a:tcPr/>
                </a:tc>
                <a:extLst>
                  <a:ext uri="{0D108BD9-81ED-4DB2-BD59-A6C34878D82A}">
                    <a16:rowId xmlns:a16="http://schemas.microsoft.com/office/drawing/2014/main" val="3005682549"/>
                  </a:ext>
                </a:extLst>
              </a:tr>
              <a:tr h="370840">
                <a:tc>
                  <a:txBody>
                    <a:bodyPr/>
                    <a:lstStyle/>
                    <a:p>
                      <a:r>
                        <a:rPr lang="en-GB" dirty="0"/>
                        <a:t>12:00 – 12: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ower Platform Demonstration</a:t>
                      </a:r>
                    </a:p>
                  </a:txBody>
                  <a:tcPr/>
                </a:tc>
                <a:tc>
                  <a:txBody>
                    <a:bodyPr/>
                    <a:lstStyle/>
                    <a:p>
                      <a:endParaRPr lang="en-GB" dirty="0"/>
                    </a:p>
                  </a:txBody>
                  <a:tcPr/>
                </a:tc>
                <a:extLst>
                  <a:ext uri="{0D108BD9-81ED-4DB2-BD59-A6C34878D82A}">
                    <a16:rowId xmlns:a16="http://schemas.microsoft.com/office/drawing/2014/main" val="2930929541"/>
                  </a:ext>
                </a:extLst>
              </a:tr>
              <a:tr h="370840">
                <a:tc>
                  <a:txBody>
                    <a:bodyPr/>
                    <a:lstStyle/>
                    <a:p>
                      <a:r>
                        <a:rPr lang="en-GB" dirty="0"/>
                        <a:t>12:30 – 13: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UNCH</a:t>
                      </a:r>
                    </a:p>
                  </a:txBody>
                  <a:tcPr/>
                </a:tc>
                <a:tc>
                  <a:txBody>
                    <a:bodyPr/>
                    <a:lstStyle/>
                    <a:p>
                      <a:endParaRPr lang="en-GB" dirty="0"/>
                    </a:p>
                  </a:txBody>
                  <a:tcPr/>
                </a:tc>
                <a:extLst>
                  <a:ext uri="{0D108BD9-81ED-4DB2-BD59-A6C34878D82A}">
                    <a16:rowId xmlns:a16="http://schemas.microsoft.com/office/drawing/2014/main" val="246513040"/>
                  </a:ext>
                </a:extLst>
              </a:tr>
              <a:tr h="370840">
                <a:tc>
                  <a:txBody>
                    <a:bodyPr/>
                    <a:lstStyle/>
                    <a:p>
                      <a:r>
                        <a:rPr lang="en-GB" dirty="0"/>
                        <a:t>13:00 – 13: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ules of Engagement</a:t>
                      </a:r>
                    </a:p>
                  </a:txBody>
                  <a:tcPr/>
                </a:tc>
                <a:tc>
                  <a:txBody>
                    <a:bodyPr/>
                    <a:lstStyle/>
                    <a:p>
                      <a:endParaRPr lang="en-GB"/>
                    </a:p>
                  </a:txBody>
                  <a:tcPr/>
                </a:tc>
                <a:extLst>
                  <a:ext uri="{0D108BD9-81ED-4DB2-BD59-A6C34878D82A}">
                    <a16:rowId xmlns:a16="http://schemas.microsoft.com/office/drawing/2014/main" val="368634983"/>
                  </a:ext>
                </a:extLst>
              </a:tr>
              <a:tr h="370840">
                <a:tc>
                  <a:txBody>
                    <a:bodyPr/>
                    <a:lstStyle/>
                    <a:p>
                      <a:r>
                        <a:rPr lang="en-GB" dirty="0"/>
                        <a:t>13:15 – 13: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Use Cases</a:t>
                      </a:r>
                    </a:p>
                  </a:txBody>
                  <a:tcPr/>
                </a:tc>
                <a:tc>
                  <a:txBody>
                    <a:bodyPr/>
                    <a:lstStyle/>
                    <a:p>
                      <a:endParaRPr lang="en-GB"/>
                    </a:p>
                  </a:txBody>
                  <a:tcPr/>
                </a:tc>
                <a:extLst>
                  <a:ext uri="{0D108BD9-81ED-4DB2-BD59-A6C34878D82A}">
                    <a16:rowId xmlns:a16="http://schemas.microsoft.com/office/drawing/2014/main" val="3846815003"/>
                  </a:ext>
                </a:extLst>
              </a:tr>
              <a:tr h="370840">
                <a:tc>
                  <a:txBody>
                    <a:bodyPr/>
                    <a:lstStyle/>
                    <a:p>
                      <a:r>
                        <a:rPr lang="en-GB" dirty="0"/>
                        <a:t>13:30 – 16:00</a:t>
                      </a:r>
                    </a:p>
                  </a:txBody>
                  <a:tcPr/>
                </a:tc>
                <a:tc>
                  <a:txBody>
                    <a:bodyPr/>
                    <a:lstStyle/>
                    <a:p>
                      <a:r>
                        <a:rPr lang="en-GB" dirty="0"/>
                        <a:t>Hackathon</a:t>
                      </a:r>
                    </a:p>
                  </a:txBody>
                  <a:tcPr/>
                </a:tc>
                <a:tc>
                  <a:txBody>
                    <a:bodyPr/>
                    <a:lstStyle/>
                    <a:p>
                      <a:endParaRPr lang="en-GB" dirty="0"/>
                    </a:p>
                  </a:txBody>
                  <a:tcPr/>
                </a:tc>
                <a:extLst>
                  <a:ext uri="{0D108BD9-81ED-4DB2-BD59-A6C34878D82A}">
                    <a16:rowId xmlns:a16="http://schemas.microsoft.com/office/drawing/2014/main" val="2199328892"/>
                  </a:ext>
                </a:extLst>
              </a:tr>
              <a:tr h="370840">
                <a:tc>
                  <a:txBody>
                    <a:bodyPr/>
                    <a:lstStyle/>
                    <a:p>
                      <a:r>
                        <a:rPr lang="en-GB" dirty="0"/>
                        <a:t>16:00 – 16:30</a:t>
                      </a:r>
                    </a:p>
                  </a:txBody>
                  <a:tcPr/>
                </a:tc>
                <a:tc>
                  <a:txBody>
                    <a:bodyPr/>
                    <a:lstStyle/>
                    <a:p>
                      <a:r>
                        <a:rPr lang="en-GB" dirty="0"/>
                        <a:t>Presentations &amp; Wrap-up</a:t>
                      </a:r>
                    </a:p>
                  </a:txBody>
                  <a:tcPr/>
                </a:tc>
                <a:tc>
                  <a:txBody>
                    <a:bodyPr/>
                    <a:lstStyle/>
                    <a:p>
                      <a:endParaRPr lang="en-GB" dirty="0"/>
                    </a:p>
                  </a:txBody>
                  <a:tcPr/>
                </a:tc>
                <a:extLst>
                  <a:ext uri="{0D108BD9-81ED-4DB2-BD59-A6C34878D82A}">
                    <a16:rowId xmlns:a16="http://schemas.microsoft.com/office/drawing/2014/main" val="2943510346"/>
                  </a:ext>
                </a:extLst>
              </a:tr>
            </a:tbl>
          </a:graphicData>
        </a:graphic>
      </p:graphicFrame>
    </p:spTree>
    <p:extLst>
      <p:ext uri="{BB962C8B-B14F-4D97-AF65-F5344CB8AC3E}">
        <p14:creationId xmlns:p14="http://schemas.microsoft.com/office/powerpoint/2010/main" val="28604769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DECAB-88A7-4B5D-A8F2-FB74C7C839D5}"/>
              </a:ext>
            </a:extLst>
          </p:cNvPr>
          <p:cNvSpPr>
            <a:spLocks noGrp="1"/>
          </p:cNvSpPr>
          <p:nvPr>
            <p:ph type="title"/>
          </p:nvPr>
        </p:nvSpPr>
        <p:spPr>
          <a:xfrm>
            <a:off x="584026" y="2875002"/>
            <a:ext cx="4161981" cy="1107996"/>
          </a:xfrm>
          <a:prstGeom prst="rect">
            <a:avLst/>
          </a:prstGeom>
        </p:spPr>
        <p:txBody>
          <a:bodyPr wrap="square" anchor="ctr">
            <a:normAutofit/>
          </a:bodyPr>
          <a:lstStyle/>
          <a:p>
            <a:pPr>
              <a:lnSpc>
                <a:spcPct val="90000"/>
              </a:lnSpc>
            </a:pPr>
            <a:r>
              <a:rPr lang="en-GB" sz="2000" dirty="0"/>
              <a:t>Providing Immediate Business Value with the Power Platform – </a:t>
            </a:r>
            <a:br>
              <a:rPr lang="en-GB" sz="2000" dirty="0"/>
            </a:br>
            <a:br>
              <a:rPr lang="en-GB" sz="2000" dirty="0"/>
            </a:br>
            <a:r>
              <a:rPr lang="en-GB" sz="2000" dirty="0"/>
              <a:t>Power Platform – </a:t>
            </a:r>
            <a:r>
              <a:rPr lang="en-GB" sz="2000" dirty="0" err="1"/>
              <a:t>Hack@Speed</a:t>
            </a:r>
            <a:endParaRPr lang="en-GB" sz="2000" dirty="0"/>
          </a:p>
        </p:txBody>
      </p:sp>
      <p:pic>
        <p:nvPicPr>
          <p:cNvPr id="10" name="Picture Placeholder 9">
            <a:extLst>
              <a:ext uri="{FF2B5EF4-FFF2-40B4-BE49-F238E27FC236}">
                <a16:creationId xmlns:a16="http://schemas.microsoft.com/office/drawing/2014/main" id="{31BFA853-E9D5-4670-8638-7D3A81D8378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14367" r="19133"/>
          <a:stretch/>
        </p:blipFill>
        <p:spPr>
          <a:xfrm>
            <a:off x="5334001" y="10"/>
            <a:ext cx="6858000" cy="6857990"/>
          </a:xfrm>
          <a:prstGeom prst="rect">
            <a:avLst/>
          </a:prstGeom>
          <a:noFill/>
        </p:spPr>
      </p:pic>
      <p:sp>
        <p:nvSpPr>
          <p:cNvPr id="5" name="TextBox 4">
            <a:extLst>
              <a:ext uri="{FF2B5EF4-FFF2-40B4-BE49-F238E27FC236}">
                <a16:creationId xmlns:a16="http://schemas.microsoft.com/office/drawing/2014/main" id="{AC77390D-8A86-4890-8231-F1BA47DEA9BE}"/>
              </a:ext>
            </a:extLst>
          </p:cNvPr>
          <p:cNvSpPr txBox="1"/>
          <p:nvPr/>
        </p:nvSpPr>
        <p:spPr>
          <a:xfrm>
            <a:off x="584026" y="4357991"/>
            <a:ext cx="3455882" cy="492443"/>
          </a:xfrm>
          <a:prstGeom prst="rect">
            <a:avLst/>
          </a:prstGeom>
          <a:noFill/>
        </p:spPr>
        <p:txBody>
          <a:bodyPr wrap="none" lIns="0" tIns="0" rIns="0" bIns="0" rtlCol="0">
            <a:spAutoFit/>
          </a:bodyPr>
          <a:lstStyle/>
          <a:p>
            <a:r>
              <a:rPr lang="en-GB" sz="3200" b="1" dirty="0">
                <a:gradFill>
                  <a:gsLst>
                    <a:gs pos="2917">
                      <a:schemeClr val="tx1"/>
                    </a:gs>
                    <a:gs pos="30000">
                      <a:schemeClr val="tx1"/>
                    </a:gs>
                  </a:gsLst>
                  <a:lin ang="5400000" scaled="0"/>
                </a:gradFill>
              </a:rPr>
              <a:t>#</a:t>
            </a:r>
            <a:r>
              <a:rPr lang="en-GB" sz="3200" b="1" dirty="0" err="1">
                <a:gradFill>
                  <a:gsLst>
                    <a:gs pos="2917">
                      <a:schemeClr val="tx1"/>
                    </a:gs>
                    <a:gs pos="30000">
                      <a:schemeClr val="tx1"/>
                    </a:gs>
                  </a:gsLst>
                  <a:lin ang="5400000" scaled="0"/>
                </a:gradFill>
              </a:rPr>
              <a:t>MSHackAtSpeed</a:t>
            </a:r>
            <a:endParaRPr lang="en-GB" sz="3200" b="1" dirty="0">
              <a:gradFill>
                <a:gsLst>
                  <a:gs pos="2917">
                    <a:schemeClr val="tx1"/>
                  </a:gs>
                  <a:gs pos="30000">
                    <a:schemeClr val="tx1"/>
                  </a:gs>
                </a:gsLst>
                <a:lin ang="5400000" scaled="0"/>
              </a:gradFill>
            </a:endParaRPr>
          </a:p>
        </p:txBody>
      </p:sp>
    </p:spTree>
    <p:custDataLst>
      <p:tags r:id="rId1"/>
    </p:custDataLst>
    <p:extLst>
      <p:ext uri="{BB962C8B-B14F-4D97-AF65-F5344CB8AC3E}">
        <p14:creationId xmlns:p14="http://schemas.microsoft.com/office/powerpoint/2010/main" val="4961628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mage result for microsoft logo">
            <a:extLst>
              <a:ext uri="{FF2B5EF4-FFF2-40B4-BE49-F238E27FC236}">
                <a16:creationId xmlns:a16="http://schemas.microsoft.com/office/drawing/2014/main" id="{568C0966-F8B3-47F9-B9D8-C7B45DE12D1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138938"/>
            <a:ext cx="2864898" cy="190993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32048" y="5491206"/>
            <a:ext cx="1200296" cy="1293919"/>
          </a:xfrm>
          <a:prstGeom prst="rect">
            <a:avLst/>
          </a:prstGeom>
        </p:spPr>
      </p:pic>
      <p:pic>
        <p:nvPicPr>
          <p:cNvPr id="3" name="Picture 2">
            <a:extLst>
              <a:ext uri="{FF2B5EF4-FFF2-40B4-BE49-F238E27FC236}">
                <a16:creationId xmlns:a16="http://schemas.microsoft.com/office/drawing/2014/main" id="{EDFACD1E-ED76-4151-B8F9-A009D2336D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5433580"/>
          </a:xfrm>
          <a:prstGeom prst="rect">
            <a:avLst/>
          </a:prstGeom>
        </p:spPr>
      </p:pic>
      <p:sp>
        <p:nvSpPr>
          <p:cNvPr id="6" name="TextBox 5">
            <a:extLst>
              <a:ext uri="{FF2B5EF4-FFF2-40B4-BE49-F238E27FC236}">
                <a16:creationId xmlns:a16="http://schemas.microsoft.com/office/drawing/2014/main" id="{189FD4B3-AC5C-4B69-9CCD-A9D22BB69B50}"/>
              </a:ext>
            </a:extLst>
          </p:cNvPr>
          <p:cNvSpPr txBox="1"/>
          <p:nvPr/>
        </p:nvSpPr>
        <p:spPr>
          <a:xfrm>
            <a:off x="4677983" y="5709183"/>
            <a:ext cx="322075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err="1">
                <a:ln>
                  <a:noFill/>
                </a:ln>
                <a:solidFill>
                  <a:prstClr val="black"/>
                </a:solidFill>
                <a:effectLst/>
                <a:uLnTx/>
                <a:uFillTx/>
                <a:latin typeface="Calibri" panose="020F0502020204030204"/>
                <a:ea typeface="+mn-ea"/>
                <a:cs typeface="+mn-cs"/>
              </a:rPr>
              <a:t>Hack@Speed</a:t>
            </a:r>
            <a:endParaRPr kumimoji="0" lang="en-GB" sz="4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026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3A6FC-3FDB-48DB-ACAC-3CD1612E2D81}"/>
              </a:ext>
            </a:extLst>
          </p:cNvPr>
          <p:cNvSpPr>
            <a:spLocks noGrp="1"/>
          </p:cNvSpPr>
          <p:nvPr>
            <p:ph type="title"/>
          </p:nvPr>
        </p:nvSpPr>
        <p:spPr>
          <a:xfrm>
            <a:off x="584026" y="1213009"/>
            <a:ext cx="4404663" cy="4431983"/>
          </a:xfrm>
        </p:spPr>
        <p:txBody>
          <a:bodyPr/>
          <a:lstStyle/>
          <a:p>
            <a:r>
              <a:rPr lang="en-GB" dirty="0"/>
              <a:t>Born out of the original Power Platform Hackathons run by the TDG community.</a:t>
            </a:r>
            <a:br>
              <a:rPr lang="en-GB" dirty="0"/>
            </a:br>
            <a:br>
              <a:rPr lang="en-GB" dirty="0"/>
            </a:br>
            <a:r>
              <a:rPr lang="en-GB" dirty="0"/>
              <a:t>@</a:t>
            </a:r>
            <a:r>
              <a:rPr lang="en-GB" dirty="0" err="1"/>
              <a:t>PowerCommunity</a:t>
            </a:r>
            <a:r>
              <a:rPr lang="en-GB" dirty="0"/>
              <a:t>_</a:t>
            </a:r>
          </a:p>
        </p:txBody>
      </p:sp>
      <p:pic>
        <p:nvPicPr>
          <p:cNvPr id="6" name="Picture Placeholder 5" descr="A group of people sitting at a table&#10;&#10;Description automatically generated">
            <a:extLst>
              <a:ext uri="{FF2B5EF4-FFF2-40B4-BE49-F238E27FC236}">
                <a16:creationId xmlns:a16="http://schemas.microsoft.com/office/drawing/2014/main" id="{7DF04E16-9BE5-4D6F-B7F5-7AEF1EBA6D1E}"/>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6625" r="16625"/>
          <a:stretch>
            <a:fillRect/>
          </a:stretch>
        </p:blipFill>
        <p:spPr/>
      </p:pic>
      <p:sp>
        <p:nvSpPr>
          <p:cNvPr id="4" name="Text Placeholder 3">
            <a:extLst>
              <a:ext uri="{FF2B5EF4-FFF2-40B4-BE49-F238E27FC236}">
                <a16:creationId xmlns:a16="http://schemas.microsoft.com/office/drawing/2014/main" id="{32D7A9AD-F164-49BE-B1C3-1AFC05CA4230}"/>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21818305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7161731b3c2bb213216454c271ed3e82&quot;,&quot;LanguageCode&quot;:&quot;en-US&quot;,&quot;SlideGuids&quot;:[&quot;e6a31776-0142-4d2e-a1a1-aad27613cb68&quot;,&quot;8ff272ac-72e7-434e-a6f8-35435cfba587&quot;,&quot;5fc4e3a9-acf4-4e48-8823-3b7d6fae97c8&quot;,&quot;accb4933-7877-474e-b2bc-0eae54e1f2bc&quot;,&quot;3208e364-bf36-489b-b2e4-5a60af4012fc&quot;,&quot;d6c04f97-c3c6-472f-ae59-f25bf54de41e&quot;,&quot;bfaff814-0357-48ca-ad24-821cb473f1fb&quot;,&quot;979b9d87-5a56-4c0c-8dd6-da1deed3690d&quot;,&quot;e3bd8e10-584c-4cbb-9868-a3da207b3a26&quot;,&quot;239004ba-8c27-4702-b7b4-5d2c33301576&quot;,&quot;8d757896-0145-4335-9f02-1e5a88670bf5&quot;,&quot;2d15781c-67dc-4f5c-93b1-da04d57a672e&quot;,&quot;3b8523cb-d6ef-44ce-a99a-2b7d0d8a5057&quot;,&quot;f1fc0511-c69d-4ce5-8e72-1d22ce4182f7&quot;,&quot;ccc430c4-bd93-4e2a-847c-c0933399b866&quot;,&quot;20ba3eb3-bc16-4407-bb51-14b38acfe012&quot;,&quot;0a1e68ef-b3db-4d1c-818a-19e29eb52823&quot;,&quot;52336d94-99e8-49ef-a371-49298c589ce8&quot;,&quot;d439e8e8-1192-4d28-a042-5bd906c6d53f&quot;,&quot;081ca04d-9b14-46e6-ad5b-6282b212ddc7&quot;,&quot;a9beef3a-a28b-437a-bbd4-b26de296ade5&quot;,&quot;d11348ee-c2b1-4306-9630-5b2ab72c71fc&quot;,&quot;7af65940-7fea-4e7c-85cf-3dddd40e6bb4&quot;,&quot;7d641a82-a573-4e39-9b61-df5bc0250982&quot;,&quot;bfb8780a-d9d3-4fe6-aea9-084a0c277534&quot;,&quot;bc18aef9-81a7-49f5-865b-873386137004&quot;,&quot;82f3a600-0da7-46ed-9eb5-76d6e4c49fd7&quot;,&quot;61ac49c9-f57c-4fe9-af54-4c534f67f1c9&quot;,&quot;f121927e-d9ae-4eb5-b29b-09a59cdf6ed8&quot;,&quot;a3c09e91-caea-4e32-b070-641dc55b4dd0&quot;,&quot;abecb58e-9ce0-486a-b9a0-6903dd73fd07&quot;,&quot;9f2b6e2f-9bac-4cbe-8fb7-84c2540ec376&quot;,&quot;6647b22a-5cdd-4f52-818b-64331cd617ad&quot;,&quot;b5fef87b-cb93-40e9-ab3c-f27def4ef80b&quot;,&quot;1213ce44-945b-4bcc-a420-4edc0ca48240&quot;,&quot;fc1a06a5-0ccd-4ab6-9c32-1df3f4c84ceb&quot;,&quot;d66c7ed8-cb56-410a-bd25-eebca0ff10f6&quot;,&quot;43b3f735-f582-44c9-b918-3bbb5c30c205&quot;,&quot;4212fc65-3bb6-456f-b494-bcbeb773c83e&quot;,&quot;8391cc20-4174-4364-be24-d72f12faf52c&quot;,&quot;170cc7a9-da7d-4a34-9538-58ac300fb4eb&quot;,&quot;3230098b-d28d-40f9-9a99-085c0bed5751&quot;,&quot;36167110-b2c4-4e71-9ffa-bff995fb82e2&quot;,&quot;9a11ae02-de17-4d57-8dfc-c7a20eb407ef&quot;,&quot;d50347ed-50fc-4bc2-8090-cfc816914531&quot;,&quot;8bc4779e-1b89-4e45-8a85-970cf38f1a6d&quot;,&quot;fff5534a-b32e-49cc-b1c0-106800fe0ec3&quot;,&quot;47bda0a6-f5b4-4c67-837f-b27fd5929e6e&quot;,&quot;932b55da-27cf-4f79-a3ba-1b3c312d524a&quot;,&quot;e00492a6-bfe9-4c80-9e30-ff5173bfd715&quot;,&quot;facc5b8a-358e-4c22-b259-c82c5c2d26de&quot;,&quot;71398418-5a56-4a43-8c04-7306d02f41cb&quot;,&quot;dd9627ca-1336-4b3e-b929-b0530adefc8b&quot;,&quot;69f0ed3a-55d3-4c5b-925e-86d16f20ed24&quot;,&quot;aa458c41-9221-4ac0-8f43-416ca01cb544&quot;,&quot;735a88e4-d4ee-4a1e-86c3-703fb21ccde0&quot;,&quot;2f1a842a-561c-4d15-8408-ad9410e72e59&quot;,&quot;ce814c6a-8ff3-4c70-902a-90bae73665bb&quot;,&quot;6f2eb04f-5051-4c04-85b8-f50dcf7e6878&quot;,&quot;7bfebe1f-44ca-43d0-8b8c-0f55b7123470&quot;,&quot;480da5f9-083f-40ba-841e-99d5691dc331&quot;,&quot;7741adb4-95fe-4df5-a08e-b0c092c1300d&quot;,&quot;83e4fdc6-b699-4c10-9656-8aa9e8fe969a&quot;,&quot;3cfd195c-0971-4a54-9c11-a829d87999e1&quot;],&quot;TimeStamp&quot;:&quot;2019-08-27T15:39:12.9311386+01: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480da5f9-083f-40ba-841e-99d5691dc331&quot;,&quot;TimeStamp&quot;:&quot;2019-08-27T15:39:12.9301389+01:0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12.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6f2eb04f-5051-4c04-85b8-f50dcf7e6878&quot;,&quot;TimeStamp&quot;:&quot;2019-08-27T15:39:12.9301389+01: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6f2eb04f-5051-4c04-85b8-f50dcf7e6878&quot;,&quot;TimeStamp&quot;:&quot;2019-08-27T15:39:12.9301389+01: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3208e364-bf36-489b-b2e4-5a60af4012fc&quot;,&quot;TimeStamp&quot;:&quot;2019-08-27T15:39:12.9221537+01:0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480da5f9-083f-40ba-841e-99d5691dc331&quot;,&quot;TimeStamp&quot;:&quot;2019-08-27T15:39:12.9301389+01:0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7bfebe1f-44ca-43d0-8b8c-0f55b7123470&quot;,&quot;TimeStamp&quot;:&quot;2019-08-27T15:39:12.9301389+01:0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7741adb4-95fe-4df5-a08e-b0c092c1300d&quot;,&quot;TimeStamp&quot;:&quot;2019-08-27T15:39:12.9301389+01:00&quot;}"/>
</p:tagLst>
</file>

<file path=ppt/theme/theme1.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321_AI_for_Humanitarian_Action_v02.potx" id="{30595219-79BC-497D-AA39-248276C9A2AD}" vid="{1EF0B037-FC60-4D4D-9ECF-0ADB3F7B51A2}"/>
    </a:ext>
  </a:ext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8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12.xml><?xml version="1.0" encoding="utf-8"?>
<a:theme xmlns:a="http://schemas.openxmlformats.org/drawingml/2006/main" name="MicrosoftDynamicsCRM_TDM_Deck EXAMPLE STYLE">
  <a:themeElements>
    <a:clrScheme name="Custom 2">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FF5300"/>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err="1" smtClean="0">
            <a:solidFill>
              <a:schemeClr val="bg1"/>
            </a:soli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INK PPT COLOR THEME 5">
      <a:dk1>
        <a:sysClr val="windowText" lastClr="000000"/>
      </a:dk1>
      <a:lt1>
        <a:sysClr val="window" lastClr="FFFFFF"/>
      </a:lt1>
      <a:dk2>
        <a:srgbClr val="44546A"/>
      </a:dk2>
      <a:lt2>
        <a:srgbClr val="E7E6E6"/>
      </a:lt2>
      <a:accent1>
        <a:srgbClr val="FF6138"/>
      </a:accent1>
      <a:accent2>
        <a:srgbClr val="FFFF9D"/>
      </a:accent2>
      <a:accent3>
        <a:srgbClr val="BEEB9F"/>
      </a:accent3>
      <a:accent4>
        <a:srgbClr val="79BD8F"/>
      </a:accent4>
      <a:accent5>
        <a:srgbClr val="00A388"/>
      </a:accent5>
      <a:accent6>
        <a:srgbClr val="C77966"/>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ne Microsoft">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3_DYNAMICS 2018">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AD884F1-22B7-44DE-8F65-AD4A3772C65B}" vid="{FB5868D2-A4D0-42F5-887A-39846773B8D2}"/>
    </a:ext>
  </a:extLst>
</a:theme>
</file>

<file path=ppt/theme/theme7.xml><?xml version="1.0" encoding="utf-8"?>
<a:theme xmlns:a="http://schemas.openxmlformats.org/drawingml/2006/main" name="3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8.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SOCP.pptx" id="{147400D6-A637-4BCA-BDAB-7C746DE409AB}" vid="{89BD085E-CE8B-436A-95AA-47EFA64DF554}"/>
    </a:ext>
  </a:extLst>
</a:theme>
</file>

<file path=ppt/theme/theme9.xml><?xml version="1.0" encoding="utf-8"?>
<a:theme xmlns:a="http://schemas.openxmlformats.org/drawingml/2006/main" name="1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docProps/app.xml><?xml version="1.0" encoding="utf-8"?>
<Properties xmlns="http://schemas.openxmlformats.org/officeDocument/2006/extended-properties" xmlns:vt="http://schemas.openxmlformats.org/officeDocument/2006/docPropsVTypes">
  <TotalTime>126</TotalTime>
  <Words>3446</Words>
  <Application>Microsoft Office PowerPoint</Application>
  <PresentationFormat>Widescreen</PresentationFormat>
  <Paragraphs>508</Paragraphs>
  <Slides>49</Slides>
  <Notes>15</Notes>
  <HiddenSlides>2</HiddenSlides>
  <MMClips>4</MMClips>
  <ScaleCrop>false</ScaleCrop>
  <HeadingPairs>
    <vt:vector size="8" baseType="variant">
      <vt:variant>
        <vt:lpstr>Fonts Used</vt:lpstr>
      </vt:variant>
      <vt:variant>
        <vt:i4>17</vt:i4>
      </vt:variant>
      <vt:variant>
        <vt:lpstr>Theme</vt:lpstr>
      </vt:variant>
      <vt:variant>
        <vt:i4>12</vt:i4>
      </vt:variant>
      <vt:variant>
        <vt:lpstr>Embedded OLE Servers</vt:lpstr>
      </vt:variant>
      <vt:variant>
        <vt:i4>1</vt:i4>
      </vt:variant>
      <vt:variant>
        <vt:lpstr>Slide Titles</vt:lpstr>
      </vt:variant>
      <vt:variant>
        <vt:i4>49</vt:i4>
      </vt:variant>
    </vt:vector>
  </HeadingPairs>
  <TitlesOfParts>
    <vt:vector size="79" baseType="lpstr">
      <vt:lpstr>Agency FB</vt:lpstr>
      <vt:lpstr>Arial</vt:lpstr>
      <vt:lpstr>Calibri</vt:lpstr>
      <vt:lpstr>Calibri Light</vt:lpstr>
      <vt:lpstr>Consolas</vt:lpstr>
      <vt:lpstr>Franklin Gothic Book</vt:lpstr>
      <vt:lpstr>Last ninja</vt:lpstr>
      <vt:lpstr>orange juice</vt:lpstr>
      <vt:lpstr>Raleway</vt:lpstr>
      <vt:lpstr>scribble</vt:lpstr>
      <vt:lpstr>Segoe UI</vt:lpstr>
      <vt:lpstr>Segoe UI Light</vt:lpstr>
      <vt:lpstr>SEGOE UI REGULAR</vt:lpstr>
      <vt:lpstr>Segoe UI Semibold</vt:lpstr>
      <vt:lpstr>Segoe UI Semilight</vt:lpstr>
      <vt:lpstr>SegoeUI</vt:lpstr>
      <vt:lpstr>Wingdings</vt:lpstr>
      <vt:lpstr>3_WHITE TEMPLATE</vt:lpstr>
      <vt:lpstr>5_Office Theme</vt:lpstr>
      <vt:lpstr>Office Theme</vt:lpstr>
      <vt:lpstr>4_Office Theme</vt:lpstr>
      <vt:lpstr>2_One Microsoft</vt:lpstr>
      <vt:lpstr>3_DYNAMICS 2018</vt:lpstr>
      <vt:lpstr>3_Dynamics 365</vt:lpstr>
      <vt:lpstr>WHITE TEMPLATE</vt:lpstr>
      <vt:lpstr>1_Microsoft 365 PPT Template - 2018</vt:lpstr>
      <vt:lpstr>2_Office Theme</vt:lpstr>
      <vt:lpstr>8_Microsoft Dynamics 365</vt:lpstr>
      <vt:lpstr>MicrosoftDynamicsCRM_TDM_Deck EXAMPLE STYLE</vt:lpstr>
      <vt:lpstr>think-cell Slide</vt:lpstr>
      <vt:lpstr>Providing Immediate Business Value with the Power Platform –   Power Platform – Hack@Speed</vt:lpstr>
      <vt:lpstr>@tattooedCRMGuy</vt:lpstr>
      <vt:lpstr>Todays Agenda (Virtual)</vt:lpstr>
      <vt:lpstr>PLEASE REGISTER YOUR TEAM ASAP!</vt:lpstr>
      <vt:lpstr>Todays Agenda (Virtual)</vt:lpstr>
      <vt:lpstr>Todays Agenda (Virtual)</vt:lpstr>
      <vt:lpstr>Providing Immediate Business Value with the Power Platform –   Power Platform – Hack@Speed</vt:lpstr>
      <vt:lpstr>PowerPoint Presentation</vt:lpstr>
      <vt:lpstr>Born out of the original Power Platform Hackathons run by the TDG community.  @PowerCommunity_</vt:lpstr>
      <vt:lpstr>The Goal</vt:lpstr>
      <vt:lpstr>PowerPoint Presentation</vt:lpstr>
      <vt:lpstr>PowerPoint Presentation</vt:lpstr>
      <vt:lpstr>PowerPoint Presentation</vt:lpstr>
      <vt:lpstr>Transforming a business can be challenging</vt:lpstr>
      <vt:lpstr>PowerPoint Presentation</vt:lpstr>
      <vt:lpstr>The Power Platform &amp; Dynamics 365</vt:lpstr>
      <vt:lpstr>PowerPoint Presentation</vt:lpstr>
      <vt:lpstr>A platform for all mak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credible customer stories</vt:lpstr>
      <vt:lpstr>PowerPoint Presentation</vt:lpstr>
      <vt:lpstr>PowerPoint Presentation</vt:lpstr>
      <vt:lpstr>PowerPoint Presentation</vt:lpstr>
      <vt:lpstr>PowerPoint Presentation</vt:lpstr>
      <vt:lpstr>PowerPoint Presentation</vt:lpstr>
      <vt:lpstr>Rules of Engagement</vt:lpstr>
      <vt:lpstr>Hack Options</vt:lpstr>
      <vt:lpstr>Hack Options</vt:lpstr>
      <vt:lpstr>Judging Criteria</vt:lpstr>
      <vt:lpstr>Use Cases / User Stories</vt:lpstr>
      <vt:lpstr>Bring Your Own Data</vt:lpstr>
      <vt:lpstr>Use the Hack Packs</vt:lpstr>
      <vt:lpstr>PowerPoint Presentation</vt:lpstr>
      <vt:lpstr>Demo Business Case:</vt:lpstr>
      <vt:lpstr>PowerPoint Presentation</vt:lpstr>
      <vt:lpstr>Use Cases</vt:lpstr>
      <vt:lpstr>Lab Structure (It’s the same for all data sets)</vt:lpstr>
      <vt:lpstr>PowerPoint Presentation</vt:lpstr>
      <vt:lpstr>Lets Hack!</vt:lpstr>
      <vt:lpstr>FEEDBACK PLEAS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viding Immediate Business Value with the Power Platform –   Power Platform – Hack@Speed</dc:title>
  <dc:creator>Chris Huntingford (POWER PLATFORM)</dc:creator>
  <cp:lastModifiedBy>Chris Huntingford (POWER PLATFORM)</cp:lastModifiedBy>
  <cp:revision>6</cp:revision>
  <dcterms:created xsi:type="dcterms:W3CDTF">2020-06-29T06:47:21Z</dcterms:created>
  <dcterms:modified xsi:type="dcterms:W3CDTF">2020-12-08T23:1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6-29T06:53:56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3a5dda3b-5d69-4093-b83a-ce27fca4d1cb</vt:lpwstr>
  </property>
  <property fmtid="{D5CDD505-2E9C-101B-9397-08002B2CF9AE}" pid="8" name="MSIP_Label_f42aa342-8706-4288-bd11-ebb85995028c_ContentBits">
    <vt:lpwstr>0</vt:lpwstr>
  </property>
</Properties>
</file>